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heme/theme5.xml" ContentType="application/vnd.openxmlformats-officedocument.them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1.xml" ContentType="application/vnd.openxmlformats-officedocument.presentationml.notesSl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notesSlides/notesSlide3.xml" ContentType="application/vnd.openxmlformats-officedocument.presentationml.notesSlide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70" r:id="rId3"/>
    <p:sldMasterId id="2147483676" r:id="rId4"/>
  </p:sldMasterIdLst>
  <p:notesMasterIdLst>
    <p:notesMasterId r:id="rId30"/>
  </p:notesMasterIdLst>
  <p:sldIdLst>
    <p:sldId id="324" r:id="rId5"/>
    <p:sldId id="276" r:id="rId6"/>
    <p:sldId id="302" r:id="rId7"/>
    <p:sldId id="368" r:id="rId8"/>
    <p:sldId id="356" r:id="rId9"/>
    <p:sldId id="370" r:id="rId10"/>
    <p:sldId id="372" r:id="rId11"/>
    <p:sldId id="361" r:id="rId12"/>
    <p:sldId id="367" r:id="rId13"/>
    <p:sldId id="371" r:id="rId14"/>
    <p:sldId id="307" r:id="rId15"/>
    <p:sldId id="376" r:id="rId16"/>
    <p:sldId id="373" r:id="rId17"/>
    <p:sldId id="374" r:id="rId18"/>
    <p:sldId id="375" r:id="rId19"/>
    <p:sldId id="377" r:id="rId20"/>
    <p:sldId id="378" r:id="rId21"/>
    <p:sldId id="379" r:id="rId22"/>
    <p:sldId id="380" r:id="rId23"/>
    <p:sldId id="382" r:id="rId24"/>
    <p:sldId id="383" r:id="rId25"/>
    <p:sldId id="384" r:id="rId26"/>
    <p:sldId id="381" r:id="rId27"/>
    <p:sldId id="385" r:id="rId28"/>
    <p:sldId id="386" r:id="rId29"/>
  </p:sldIdLst>
  <p:sldSz cx="9144000" cy="6858000" type="screen4x3"/>
  <p:notesSz cx="6805613" cy="9939338"/>
  <p:custDataLst>
    <p:tags r:id="rId31"/>
  </p:custDataLst>
  <p:defaultTextStyle>
    <a:defPPr>
      <a:defRPr lang="th-TH"/>
    </a:defPPr>
    <a:lvl1pPr marL="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1">
          <p15:clr>
            <a:srgbClr val="A4A3A4"/>
          </p15:clr>
        </p15:guide>
        <p15:guide id="2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8009"/>
    <a:srgbClr val="FF9999"/>
    <a:srgbClr val="960000"/>
    <a:srgbClr val="E32D2D"/>
    <a:srgbClr val="FF0066"/>
    <a:srgbClr val="00FA71"/>
    <a:srgbClr val="009900"/>
    <a:srgbClr val="6BA42C"/>
    <a:srgbClr val="CCFFCC"/>
    <a:srgbClr val="CC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39" autoAdjust="0"/>
    <p:restoredTop sz="94676" autoAdjust="0"/>
  </p:normalViewPr>
  <p:slideViewPr>
    <p:cSldViewPr>
      <p:cViewPr varScale="1">
        <p:scale>
          <a:sx n="63" d="100"/>
          <a:sy n="63" d="100"/>
        </p:scale>
        <p:origin x="1320" y="56"/>
      </p:cViewPr>
      <p:guideLst>
        <p:guide orient="horz" pos="1071"/>
        <p:guide pos="2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>
      <p:cViewPr varScale="1">
        <p:scale>
          <a:sx n="60" d="100"/>
          <a:sy n="60" d="100"/>
        </p:scale>
        <p:origin x="-3306" y="-72"/>
      </p:cViewPr>
      <p:guideLst>
        <p:guide orient="horz" pos="313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37F8E0-4B8B-483D-8007-FA9AD7CD1E32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0D198BA-C537-4BDC-8D22-AD5E91715DE7}">
      <dgm:prSet phldrT="[Text]" custT="1"/>
      <dgm:spPr/>
      <dgm:t>
        <a:bodyPr/>
        <a:lstStyle/>
        <a:p>
          <a:r>
            <a:rPr lang="th-TH" sz="2800" b="1" dirty="0" smtClean="0">
              <a:latin typeface="TH SarabunPSK" panose="020B0500040200020003" pitchFamily="34" charset="-34"/>
              <a:cs typeface="TH SarabunPSK" panose="020B0500040200020003" pitchFamily="34" charset="-34"/>
            </a:rPr>
            <a:t>ตั๋วเชื่อมต่อระบบ</a:t>
          </a:r>
          <a:endParaRPr lang="en-US" sz="2800" b="1" dirty="0">
            <a:latin typeface="TH SarabunPSK" panose="020B0500040200020003" pitchFamily="34" charset="-34"/>
            <a:cs typeface="TH SarabunPSK" panose="020B0500040200020003" pitchFamily="34" charset="-34"/>
          </a:endParaRPr>
        </a:p>
      </dgm:t>
    </dgm:pt>
    <dgm:pt modelId="{B5C9B73F-668B-4CDB-9A1B-193DADA2508D}" type="parTrans" cxnId="{4D42C4C6-4B01-4D01-B8D9-A5BDDA7CE94E}">
      <dgm:prSet/>
      <dgm:spPr/>
      <dgm:t>
        <a:bodyPr/>
        <a:lstStyle/>
        <a:p>
          <a:endParaRPr lang="en-US"/>
        </a:p>
      </dgm:t>
    </dgm:pt>
    <dgm:pt modelId="{EC4A387E-2163-4071-A4FD-30E93963FDA9}" type="sibTrans" cxnId="{4D42C4C6-4B01-4D01-B8D9-A5BDDA7CE94E}">
      <dgm:prSet/>
      <dgm:spPr/>
      <dgm:t>
        <a:bodyPr/>
        <a:lstStyle/>
        <a:p>
          <a:endParaRPr lang="en-US"/>
        </a:p>
      </dgm:t>
    </dgm:pt>
    <dgm:pt modelId="{E8789B06-55E0-4ACF-B360-7A4F38A60267}">
      <dgm:prSet phldrT="[Text]" custT="1"/>
      <dgm:spPr>
        <a:solidFill>
          <a:srgbClr val="FF6600"/>
        </a:solidFill>
      </dgm:spPr>
      <dgm:t>
        <a:bodyPr/>
        <a:lstStyle/>
        <a:p>
          <a:r>
            <a:rPr lang="th-TH" sz="2800" b="1" dirty="0" smtClean="0">
              <a:latin typeface="TH SarabunPSK" panose="020B0500040200020003" pitchFamily="34" charset="-34"/>
              <a:cs typeface="TH SarabunPSK" panose="020B0500040200020003" pitchFamily="34" charset="-34"/>
            </a:rPr>
            <a:t>ตั๋วเชื่อมต่อระบบแบบมีส่วนลดค่าแรกเข้า</a:t>
          </a:r>
          <a:endParaRPr lang="en-US" sz="2800" b="1" dirty="0">
            <a:latin typeface="TH SarabunPSK" panose="020B0500040200020003" pitchFamily="34" charset="-34"/>
            <a:cs typeface="TH SarabunPSK" panose="020B0500040200020003" pitchFamily="34" charset="-34"/>
          </a:endParaRPr>
        </a:p>
      </dgm:t>
    </dgm:pt>
    <dgm:pt modelId="{49933EC2-D83B-40B4-9BF0-525299C34465}" type="parTrans" cxnId="{2F16BCA8-F821-437E-BE19-FBF8801737EC}">
      <dgm:prSet/>
      <dgm:spPr/>
      <dgm:t>
        <a:bodyPr/>
        <a:lstStyle/>
        <a:p>
          <a:endParaRPr lang="en-US"/>
        </a:p>
      </dgm:t>
    </dgm:pt>
    <dgm:pt modelId="{DAD3F296-C6E1-46AC-B8CE-F69B4E7762B6}" type="sibTrans" cxnId="{2F16BCA8-F821-437E-BE19-FBF8801737EC}">
      <dgm:prSet/>
      <dgm:spPr/>
      <dgm:t>
        <a:bodyPr/>
        <a:lstStyle/>
        <a:p>
          <a:endParaRPr lang="en-US"/>
        </a:p>
      </dgm:t>
    </dgm:pt>
    <dgm:pt modelId="{B8DBB529-2C69-48C7-910C-854021ABC429}">
      <dgm:prSet phldrT="[Text]" custT="1"/>
      <dgm:spPr>
        <a:solidFill>
          <a:srgbClr val="6BA42C"/>
        </a:solidFill>
      </dgm:spPr>
      <dgm:t>
        <a:bodyPr/>
        <a:lstStyle/>
        <a:p>
          <a:r>
            <a:rPr lang="th-TH" sz="2800" b="1" dirty="0" smtClean="0">
              <a:latin typeface="TH SarabunPSK" panose="020B0500040200020003" pitchFamily="34" charset="-34"/>
              <a:cs typeface="TH SarabunPSK" panose="020B0500040200020003" pitchFamily="34" charset="-34"/>
            </a:rPr>
            <a:t>ตั๋วแบบค่าโดยสารราคาเดียว</a:t>
          </a:r>
        </a:p>
      </dgm:t>
    </dgm:pt>
    <dgm:pt modelId="{4343A27A-AE04-48F2-8A34-38903CA8E6F0}" type="parTrans" cxnId="{560DD860-3B74-44B1-A571-4C46E17B211A}">
      <dgm:prSet/>
      <dgm:spPr/>
      <dgm:t>
        <a:bodyPr/>
        <a:lstStyle/>
        <a:p>
          <a:endParaRPr lang="en-US"/>
        </a:p>
      </dgm:t>
    </dgm:pt>
    <dgm:pt modelId="{BAC68554-E4B8-4902-9CB6-C687A31B3893}" type="sibTrans" cxnId="{560DD860-3B74-44B1-A571-4C46E17B211A}">
      <dgm:prSet/>
      <dgm:spPr/>
      <dgm:t>
        <a:bodyPr/>
        <a:lstStyle/>
        <a:p>
          <a:endParaRPr lang="en-US"/>
        </a:p>
      </dgm:t>
    </dgm:pt>
    <dgm:pt modelId="{09287543-EF29-4ED5-9B99-6D829B0274A2}">
      <dgm:prSet phldrT="[Text]" custT="1"/>
      <dgm:spPr>
        <a:solidFill>
          <a:srgbClr val="FF33CC"/>
        </a:solidFill>
      </dgm:spPr>
      <dgm:t>
        <a:bodyPr/>
        <a:lstStyle/>
        <a:p>
          <a:r>
            <a:rPr lang="th-TH" sz="2800" b="1" dirty="0" smtClean="0">
              <a:latin typeface="TH SarabunPSK" panose="020B0500040200020003" pitchFamily="34" charset="-34"/>
              <a:cs typeface="TH SarabunPSK" panose="020B0500040200020003" pitchFamily="34" charset="-34"/>
            </a:rPr>
            <a:t>ตั๋วแบบระยะเวลา รายวัน หรือรายเดือน </a:t>
          </a:r>
        </a:p>
      </dgm:t>
    </dgm:pt>
    <dgm:pt modelId="{759754CB-ADDD-4C3B-8D5D-0B500745B8FF}" type="parTrans" cxnId="{2DB0B0B5-2FA1-45B1-8EF6-535707D3363B}">
      <dgm:prSet/>
      <dgm:spPr/>
      <dgm:t>
        <a:bodyPr/>
        <a:lstStyle/>
        <a:p>
          <a:endParaRPr lang="en-US"/>
        </a:p>
      </dgm:t>
    </dgm:pt>
    <dgm:pt modelId="{7C29D11A-78C8-4568-A5F7-875738EDBDEE}" type="sibTrans" cxnId="{2DB0B0B5-2FA1-45B1-8EF6-535707D3363B}">
      <dgm:prSet/>
      <dgm:spPr/>
      <dgm:t>
        <a:bodyPr/>
        <a:lstStyle/>
        <a:p>
          <a:endParaRPr lang="en-US"/>
        </a:p>
      </dgm:t>
    </dgm:pt>
    <dgm:pt modelId="{48BD36FD-8A52-4DBB-AC34-F90E4287E3E8}">
      <dgm:prSet phldrT="[Text]" custT="1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th-TH" sz="2800" b="1" dirty="0" smtClean="0">
              <a:latin typeface="TH SarabunPSK" panose="020B0500040200020003" pitchFamily="34" charset="-34"/>
              <a:cs typeface="TH SarabunPSK" panose="020B0500040200020003" pitchFamily="34" charset="-34"/>
            </a:rPr>
            <a:t>ตั๋วแบบ การเดินทางกำหนดพื้นที่  </a:t>
          </a:r>
        </a:p>
      </dgm:t>
    </dgm:pt>
    <dgm:pt modelId="{CF42777D-48D0-44C4-AF9B-6503C6036BA3}" type="parTrans" cxnId="{0A54516E-F94C-4441-B380-A99AB3D8BB51}">
      <dgm:prSet/>
      <dgm:spPr/>
      <dgm:t>
        <a:bodyPr/>
        <a:lstStyle/>
        <a:p>
          <a:endParaRPr lang="en-US"/>
        </a:p>
      </dgm:t>
    </dgm:pt>
    <dgm:pt modelId="{0E88E483-7105-4FBE-A686-466D297E3354}" type="sibTrans" cxnId="{0A54516E-F94C-4441-B380-A99AB3D8BB51}">
      <dgm:prSet/>
      <dgm:spPr/>
      <dgm:t>
        <a:bodyPr/>
        <a:lstStyle/>
        <a:p>
          <a:endParaRPr lang="en-US"/>
        </a:p>
      </dgm:t>
    </dgm:pt>
    <dgm:pt modelId="{CCC41712-0E23-495F-BBA8-6204E80EDED5}" type="pres">
      <dgm:prSet presAssocID="{C637F8E0-4B8B-483D-8007-FA9AD7CD1E32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th-TH"/>
        </a:p>
      </dgm:t>
    </dgm:pt>
    <dgm:pt modelId="{A755077D-6F65-40AA-97D2-F14C88EA6CB8}" type="pres">
      <dgm:prSet presAssocID="{A0D198BA-C537-4BDC-8D22-AD5E91715DE7}" presName="parentLin" presStyleCnt="0"/>
      <dgm:spPr/>
    </dgm:pt>
    <dgm:pt modelId="{16275653-3CF4-47AE-A3F9-DD988A67725F}" type="pres">
      <dgm:prSet presAssocID="{A0D198BA-C537-4BDC-8D22-AD5E91715DE7}" presName="parentLeftMargin" presStyleLbl="node1" presStyleIdx="0" presStyleCnt="5"/>
      <dgm:spPr/>
      <dgm:t>
        <a:bodyPr/>
        <a:lstStyle/>
        <a:p>
          <a:endParaRPr lang="th-TH"/>
        </a:p>
      </dgm:t>
    </dgm:pt>
    <dgm:pt modelId="{6D99B95D-DB22-468E-BFC5-E1EF883D0980}" type="pres">
      <dgm:prSet presAssocID="{A0D198BA-C537-4BDC-8D22-AD5E91715DE7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9EBE36-ED1C-4A5E-ACEB-B3368B8EFA10}" type="pres">
      <dgm:prSet presAssocID="{A0D198BA-C537-4BDC-8D22-AD5E91715DE7}" presName="negativeSpace" presStyleCnt="0"/>
      <dgm:spPr/>
    </dgm:pt>
    <dgm:pt modelId="{5FE2E181-40F5-45E8-9321-DB1888D19329}" type="pres">
      <dgm:prSet presAssocID="{A0D198BA-C537-4BDC-8D22-AD5E91715DE7}" presName="childText" presStyleLbl="conFgAcc1" presStyleIdx="0" presStyleCnt="5">
        <dgm:presLayoutVars>
          <dgm:bulletEnabled val="1"/>
        </dgm:presLayoutVars>
      </dgm:prSet>
      <dgm:spPr/>
    </dgm:pt>
    <dgm:pt modelId="{FE360E3F-703B-4DA5-B538-00DED7B51ABF}" type="pres">
      <dgm:prSet presAssocID="{EC4A387E-2163-4071-A4FD-30E93963FDA9}" presName="spaceBetweenRectangles" presStyleCnt="0"/>
      <dgm:spPr/>
    </dgm:pt>
    <dgm:pt modelId="{7E5CFD36-6652-4007-AD42-1EE34FE633AC}" type="pres">
      <dgm:prSet presAssocID="{E8789B06-55E0-4ACF-B360-7A4F38A60267}" presName="parentLin" presStyleCnt="0"/>
      <dgm:spPr/>
    </dgm:pt>
    <dgm:pt modelId="{E59B1247-3F64-4768-A536-B624FF807C16}" type="pres">
      <dgm:prSet presAssocID="{E8789B06-55E0-4ACF-B360-7A4F38A60267}" presName="parentLeftMargin" presStyleLbl="node1" presStyleIdx="0" presStyleCnt="5"/>
      <dgm:spPr/>
      <dgm:t>
        <a:bodyPr/>
        <a:lstStyle/>
        <a:p>
          <a:endParaRPr lang="th-TH"/>
        </a:p>
      </dgm:t>
    </dgm:pt>
    <dgm:pt modelId="{9A309CB0-D57D-43C5-8E3E-72735BAF5C3F}" type="pres">
      <dgm:prSet presAssocID="{E8789B06-55E0-4ACF-B360-7A4F38A60267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CF8E48-580F-4584-A958-067BC0105437}" type="pres">
      <dgm:prSet presAssocID="{E8789B06-55E0-4ACF-B360-7A4F38A60267}" presName="negativeSpace" presStyleCnt="0"/>
      <dgm:spPr/>
    </dgm:pt>
    <dgm:pt modelId="{E8B7BA25-419A-4D9A-B737-8E642AC4A0F8}" type="pres">
      <dgm:prSet presAssocID="{E8789B06-55E0-4ACF-B360-7A4F38A60267}" presName="childText" presStyleLbl="conFgAcc1" presStyleIdx="1" presStyleCnt="5">
        <dgm:presLayoutVars>
          <dgm:bulletEnabled val="1"/>
        </dgm:presLayoutVars>
      </dgm:prSet>
      <dgm:spPr>
        <a:ln>
          <a:solidFill>
            <a:srgbClr val="FF6600"/>
          </a:solidFill>
        </a:ln>
      </dgm:spPr>
    </dgm:pt>
    <dgm:pt modelId="{DDEB04A7-5483-4E9E-9FBD-8ABBCDDBAE2F}" type="pres">
      <dgm:prSet presAssocID="{DAD3F296-C6E1-46AC-B8CE-F69B4E7762B6}" presName="spaceBetweenRectangles" presStyleCnt="0"/>
      <dgm:spPr/>
    </dgm:pt>
    <dgm:pt modelId="{92BA990A-88AB-43B3-BBA3-56F0D1BE3BF0}" type="pres">
      <dgm:prSet presAssocID="{B8DBB529-2C69-48C7-910C-854021ABC429}" presName="parentLin" presStyleCnt="0"/>
      <dgm:spPr/>
    </dgm:pt>
    <dgm:pt modelId="{2C00DC2B-7E6F-4E86-86FA-1856878AAF14}" type="pres">
      <dgm:prSet presAssocID="{B8DBB529-2C69-48C7-910C-854021ABC429}" presName="parentLeftMargin" presStyleLbl="node1" presStyleIdx="1" presStyleCnt="5"/>
      <dgm:spPr/>
      <dgm:t>
        <a:bodyPr/>
        <a:lstStyle/>
        <a:p>
          <a:endParaRPr lang="th-TH"/>
        </a:p>
      </dgm:t>
    </dgm:pt>
    <dgm:pt modelId="{97D57405-A6E4-4E2E-AC4A-9590B20D628C}" type="pres">
      <dgm:prSet presAssocID="{B8DBB529-2C69-48C7-910C-854021ABC429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79E416-7121-4580-9EE3-E703F1E38513}" type="pres">
      <dgm:prSet presAssocID="{B8DBB529-2C69-48C7-910C-854021ABC429}" presName="negativeSpace" presStyleCnt="0"/>
      <dgm:spPr/>
    </dgm:pt>
    <dgm:pt modelId="{A1EF85B2-01A5-4737-A64E-B5D9E31D146A}" type="pres">
      <dgm:prSet presAssocID="{B8DBB529-2C69-48C7-910C-854021ABC429}" presName="childText" presStyleLbl="conFgAcc1" presStyleIdx="2" presStyleCnt="5">
        <dgm:presLayoutVars>
          <dgm:bulletEnabled val="1"/>
        </dgm:presLayoutVars>
      </dgm:prSet>
      <dgm:spPr>
        <a:ln>
          <a:solidFill>
            <a:srgbClr val="6BA42C"/>
          </a:solidFill>
        </a:ln>
      </dgm:spPr>
    </dgm:pt>
    <dgm:pt modelId="{C0E6506C-4D90-4EFD-944B-AE4FF1A12542}" type="pres">
      <dgm:prSet presAssocID="{BAC68554-E4B8-4902-9CB6-C687A31B3893}" presName="spaceBetweenRectangles" presStyleCnt="0"/>
      <dgm:spPr/>
    </dgm:pt>
    <dgm:pt modelId="{C870AA91-705B-4F02-8ECD-93F7AD6AE042}" type="pres">
      <dgm:prSet presAssocID="{48BD36FD-8A52-4DBB-AC34-F90E4287E3E8}" presName="parentLin" presStyleCnt="0"/>
      <dgm:spPr/>
    </dgm:pt>
    <dgm:pt modelId="{E26CEA93-E059-49DF-BF2E-0881398B84F7}" type="pres">
      <dgm:prSet presAssocID="{48BD36FD-8A52-4DBB-AC34-F90E4287E3E8}" presName="parentLeftMargin" presStyleLbl="node1" presStyleIdx="2" presStyleCnt="5"/>
      <dgm:spPr/>
      <dgm:t>
        <a:bodyPr/>
        <a:lstStyle/>
        <a:p>
          <a:endParaRPr lang="th-TH"/>
        </a:p>
      </dgm:t>
    </dgm:pt>
    <dgm:pt modelId="{BA5EA82A-4776-4833-B7D5-077F7178B521}" type="pres">
      <dgm:prSet presAssocID="{48BD36FD-8A52-4DBB-AC34-F90E4287E3E8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BF27FD4-B10C-4587-B478-C5461E45D4CA}" type="pres">
      <dgm:prSet presAssocID="{48BD36FD-8A52-4DBB-AC34-F90E4287E3E8}" presName="negativeSpace" presStyleCnt="0"/>
      <dgm:spPr/>
    </dgm:pt>
    <dgm:pt modelId="{23301BE8-F08D-45DE-A521-AE737245E0F6}" type="pres">
      <dgm:prSet presAssocID="{48BD36FD-8A52-4DBB-AC34-F90E4287E3E8}" presName="childText" presStyleLbl="conFgAcc1" presStyleIdx="3" presStyleCnt="5">
        <dgm:presLayoutVars>
          <dgm:bulletEnabled val="1"/>
        </dgm:presLayoutVars>
      </dgm:prSet>
      <dgm:spPr>
        <a:ln>
          <a:solidFill>
            <a:srgbClr val="0070C0"/>
          </a:solidFill>
        </a:ln>
      </dgm:spPr>
    </dgm:pt>
    <dgm:pt modelId="{B62CA5FB-00A2-44D1-99FA-015012DF1893}" type="pres">
      <dgm:prSet presAssocID="{0E88E483-7105-4FBE-A686-466D297E3354}" presName="spaceBetweenRectangles" presStyleCnt="0"/>
      <dgm:spPr/>
    </dgm:pt>
    <dgm:pt modelId="{B6B72C3C-DD26-4419-B310-397FC44660B8}" type="pres">
      <dgm:prSet presAssocID="{09287543-EF29-4ED5-9B99-6D829B0274A2}" presName="parentLin" presStyleCnt="0"/>
      <dgm:spPr/>
    </dgm:pt>
    <dgm:pt modelId="{CB7634F3-2D4A-48DD-868B-F2C6A8E5FBC7}" type="pres">
      <dgm:prSet presAssocID="{09287543-EF29-4ED5-9B99-6D829B0274A2}" presName="parentLeftMargin" presStyleLbl="node1" presStyleIdx="3" presStyleCnt="5"/>
      <dgm:spPr/>
      <dgm:t>
        <a:bodyPr/>
        <a:lstStyle/>
        <a:p>
          <a:endParaRPr lang="th-TH"/>
        </a:p>
      </dgm:t>
    </dgm:pt>
    <dgm:pt modelId="{74F62159-9D5B-4FCA-8929-052CD2567DDF}" type="pres">
      <dgm:prSet presAssocID="{09287543-EF29-4ED5-9B99-6D829B0274A2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B43264-6F35-41EE-AD7E-119839CCC471}" type="pres">
      <dgm:prSet presAssocID="{09287543-EF29-4ED5-9B99-6D829B0274A2}" presName="negativeSpace" presStyleCnt="0"/>
      <dgm:spPr/>
    </dgm:pt>
    <dgm:pt modelId="{0740B72A-51F6-41C4-8448-FE8985011735}" type="pres">
      <dgm:prSet presAssocID="{09287543-EF29-4ED5-9B99-6D829B0274A2}" presName="childText" presStyleLbl="conFgAcc1" presStyleIdx="4" presStyleCnt="5" custLinFactY="211762" custLinFactNeighborX="-1468" custLinFactNeighborY="300000">
        <dgm:presLayoutVars>
          <dgm:bulletEnabled val="1"/>
        </dgm:presLayoutVars>
      </dgm:prSet>
      <dgm:spPr>
        <a:ln>
          <a:solidFill>
            <a:srgbClr val="FF33CC"/>
          </a:solidFill>
        </a:ln>
      </dgm:spPr>
    </dgm:pt>
  </dgm:ptLst>
  <dgm:cxnLst>
    <dgm:cxn modelId="{4B508089-BBD9-491F-AAE4-89C9CF994D39}" type="presOf" srcId="{A0D198BA-C537-4BDC-8D22-AD5E91715DE7}" destId="{16275653-3CF4-47AE-A3F9-DD988A67725F}" srcOrd="0" destOrd="0" presId="urn:microsoft.com/office/officeart/2005/8/layout/list1"/>
    <dgm:cxn modelId="{00B8612D-00F2-437D-9285-29E4D9390F59}" type="presOf" srcId="{C637F8E0-4B8B-483D-8007-FA9AD7CD1E32}" destId="{CCC41712-0E23-495F-BBA8-6204E80EDED5}" srcOrd="0" destOrd="0" presId="urn:microsoft.com/office/officeart/2005/8/layout/list1"/>
    <dgm:cxn modelId="{4D42C4C6-4B01-4D01-B8D9-A5BDDA7CE94E}" srcId="{C637F8E0-4B8B-483D-8007-FA9AD7CD1E32}" destId="{A0D198BA-C537-4BDC-8D22-AD5E91715DE7}" srcOrd="0" destOrd="0" parTransId="{B5C9B73F-668B-4CDB-9A1B-193DADA2508D}" sibTransId="{EC4A387E-2163-4071-A4FD-30E93963FDA9}"/>
    <dgm:cxn modelId="{84B7F178-CEA5-4EDD-91B9-C8F816231671}" type="presOf" srcId="{09287543-EF29-4ED5-9B99-6D829B0274A2}" destId="{CB7634F3-2D4A-48DD-868B-F2C6A8E5FBC7}" srcOrd="0" destOrd="0" presId="urn:microsoft.com/office/officeart/2005/8/layout/list1"/>
    <dgm:cxn modelId="{6CF76683-6C63-4DA5-B240-7200AA707366}" type="presOf" srcId="{B8DBB529-2C69-48C7-910C-854021ABC429}" destId="{2C00DC2B-7E6F-4E86-86FA-1856878AAF14}" srcOrd="0" destOrd="0" presId="urn:microsoft.com/office/officeart/2005/8/layout/list1"/>
    <dgm:cxn modelId="{0A54516E-F94C-4441-B380-A99AB3D8BB51}" srcId="{C637F8E0-4B8B-483D-8007-FA9AD7CD1E32}" destId="{48BD36FD-8A52-4DBB-AC34-F90E4287E3E8}" srcOrd="3" destOrd="0" parTransId="{CF42777D-48D0-44C4-AF9B-6503C6036BA3}" sibTransId="{0E88E483-7105-4FBE-A686-466D297E3354}"/>
    <dgm:cxn modelId="{2DB0B0B5-2FA1-45B1-8EF6-535707D3363B}" srcId="{C637F8E0-4B8B-483D-8007-FA9AD7CD1E32}" destId="{09287543-EF29-4ED5-9B99-6D829B0274A2}" srcOrd="4" destOrd="0" parTransId="{759754CB-ADDD-4C3B-8D5D-0B500745B8FF}" sibTransId="{7C29D11A-78C8-4568-A5F7-875738EDBDEE}"/>
    <dgm:cxn modelId="{933F8A07-77F4-4607-9D57-BD15EF7F1F8B}" type="presOf" srcId="{E8789B06-55E0-4ACF-B360-7A4F38A60267}" destId="{9A309CB0-D57D-43C5-8E3E-72735BAF5C3F}" srcOrd="1" destOrd="0" presId="urn:microsoft.com/office/officeart/2005/8/layout/list1"/>
    <dgm:cxn modelId="{6DEC6C05-10A6-43EC-BA23-9E148D46C65F}" type="presOf" srcId="{48BD36FD-8A52-4DBB-AC34-F90E4287E3E8}" destId="{BA5EA82A-4776-4833-B7D5-077F7178B521}" srcOrd="1" destOrd="0" presId="urn:microsoft.com/office/officeart/2005/8/layout/list1"/>
    <dgm:cxn modelId="{2F16BCA8-F821-437E-BE19-FBF8801737EC}" srcId="{C637F8E0-4B8B-483D-8007-FA9AD7CD1E32}" destId="{E8789B06-55E0-4ACF-B360-7A4F38A60267}" srcOrd="1" destOrd="0" parTransId="{49933EC2-D83B-40B4-9BF0-525299C34465}" sibTransId="{DAD3F296-C6E1-46AC-B8CE-F69B4E7762B6}"/>
    <dgm:cxn modelId="{F293AB16-1A27-4139-A047-738A4DFF9C81}" type="presOf" srcId="{09287543-EF29-4ED5-9B99-6D829B0274A2}" destId="{74F62159-9D5B-4FCA-8929-052CD2567DDF}" srcOrd="1" destOrd="0" presId="urn:microsoft.com/office/officeart/2005/8/layout/list1"/>
    <dgm:cxn modelId="{02DCCD33-EFE9-47F7-9D8B-5FED3DACC064}" type="presOf" srcId="{A0D198BA-C537-4BDC-8D22-AD5E91715DE7}" destId="{6D99B95D-DB22-468E-BFC5-E1EF883D0980}" srcOrd="1" destOrd="0" presId="urn:microsoft.com/office/officeart/2005/8/layout/list1"/>
    <dgm:cxn modelId="{3B510248-6BB4-43B1-A792-0880C8E202EA}" type="presOf" srcId="{48BD36FD-8A52-4DBB-AC34-F90E4287E3E8}" destId="{E26CEA93-E059-49DF-BF2E-0881398B84F7}" srcOrd="0" destOrd="0" presId="urn:microsoft.com/office/officeart/2005/8/layout/list1"/>
    <dgm:cxn modelId="{E24929A4-241B-4C41-BAEF-1C109A54391C}" type="presOf" srcId="{E8789B06-55E0-4ACF-B360-7A4F38A60267}" destId="{E59B1247-3F64-4768-A536-B624FF807C16}" srcOrd="0" destOrd="0" presId="urn:microsoft.com/office/officeart/2005/8/layout/list1"/>
    <dgm:cxn modelId="{1FE74283-831D-4D28-B30E-D333653F259D}" type="presOf" srcId="{B8DBB529-2C69-48C7-910C-854021ABC429}" destId="{97D57405-A6E4-4E2E-AC4A-9590B20D628C}" srcOrd="1" destOrd="0" presId="urn:microsoft.com/office/officeart/2005/8/layout/list1"/>
    <dgm:cxn modelId="{560DD860-3B74-44B1-A571-4C46E17B211A}" srcId="{C637F8E0-4B8B-483D-8007-FA9AD7CD1E32}" destId="{B8DBB529-2C69-48C7-910C-854021ABC429}" srcOrd="2" destOrd="0" parTransId="{4343A27A-AE04-48F2-8A34-38903CA8E6F0}" sibTransId="{BAC68554-E4B8-4902-9CB6-C687A31B3893}"/>
    <dgm:cxn modelId="{D5B2AEEA-C899-47A4-B29A-CB36783DB130}" type="presParOf" srcId="{CCC41712-0E23-495F-BBA8-6204E80EDED5}" destId="{A755077D-6F65-40AA-97D2-F14C88EA6CB8}" srcOrd="0" destOrd="0" presId="urn:microsoft.com/office/officeart/2005/8/layout/list1"/>
    <dgm:cxn modelId="{8CFF436B-87AF-4BA0-9236-EA07610E4A11}" type="presParOf" srcId="{A755077D-6F65-40AA-97D2-F14C88EA6CB8}" destId="{16275653-3CF4-47AE-A3F9-DD988A67725F}" srcOrd="0" destOrd="0" presId="urn:microsoft.com/office/officeart/2005/8/layout/list1"/>
    <dgm:cxn modelId="{776A1461-495E-4461-B031-C0C7219BA5E1}" type="presParOf" srcId="{A755077D-6F65-40AA-97D2-F14C88EA6CB8}" destId="{6D99B95D-DB22-468E-BFC5-E1EF883D0980}" srcOrd="1" destOrd="0" presId="urn:microsoft.com/office/officeart/2005/8/layout/list1"/>
    <dgm:cxn modelId="{B3EEF780-BF0A-48AF-9941-49B449895EA2}" type="presParOf" srcId="{CCC41712-0E23-495F-BBA8-6204E80EDED5}" destId="{E69EBE36-ED1C-4A5E-ACEB-B3368B8EFA10}" srcOrd="1" destOrd="0" presId="urn:microsoft.com/office/officeart/2005/8/layout/list1"/>
    <dgm:cxn modelId="{DE75A964-0B1D-4529-9985-54798C827F3B}" type="presParOf" srcId="{CCC41712-0E23-495F-BBA8-6204E80EDED5}" destId="{5FE2E181-40F5-45E8-9321-DB1888D19329}" srcOrd="2" destOrd="0" presId="urn:microsoft.com/office/officeart/2005/8/layout/list1"/>
    <dgm:cxn modelId="{8EB34560-95F5-4E03-9E64-E5707602BE37}" type="presParOf" srcId="{CCC41712-0E23-495F-BBA8-6204E80EDED5}" destId="{FE360E3F-703B-4DA5-B538-00DED7B51ABF}" srcOrd="3" destOrd="0" presId="urn:microsoft.com/office/officeart/2005/8/layout/list1"/>
    <dgm:cxn modelId="{74BB9858-2400-464A-89DE-51568AEBE953}" type="presParOf" srcId="{CCC41712-0E23-495F-BBA8-6204E80EDED5}" destId="{7E5CFD36-6652-4007-AD42-1EE34FE633AC}" srcOrd="4" destOrd="0" presId="urn:microsoft.com/office/officeart/2005/8/layout/list1"/>
    <dgm:cxn modelId="{F7540D9E-CDA0-492A-A8A9-8C776E11A8E8}" type="presParOf" srcId="{7E5CFD36-6652-4007-AD42-1EE34FE633AC}" destId="{E59B1247-3F64-4768-A536-B624FF807C16}" srcOrd="0" destOrd="0" presId="urn:microsoft.com/office/officeart/2005/8/layout/list1"/>
    <dgm:cxn modelId="{ADB00828-FA65-4C4C-9BB3-90DB6B7A83DC}" type="presParOf" srcId="{7E5CFD36-6652-4007-AD42-1EE34FE633AC}" destId="{9A309CB0-D57D-43C5-8E3E-72735BAF5C3F}" srcOrd="1" destOrd="0" presId="urn:microsoft.com/office/officeart/2005/8/layout/list1"/>
    <dgm:cxn modelId="{C16E4913-474A-42F4-8224-538729D2303C}" type="presParOf" srcId="{CCC41712-0E23-495F-BBA8-6204E80EDED5}" destId="{D0CF8E48-580F-4584-A958-067BC0105437}" srcOrd="5" destOrd="0" presId="urn:microsoft.com/office/officeart/2005/8/layout/list1"/>
    <dgm:cxn modelId="{2E4BAC72-8D11-4854-9744-24661AD16CD8}" type="presParOf" srcId="{CCC41712-0E23-495F-BBA8-6204E80EDED5}" destId="{E8B7BA25-419A-4D9A-B737-8E642AC4A0F8}" srcOrd="6" destOrd="0" presId="urn:microsoft.com/office/officeart/2005/8/layout/list1"/>
    <dgm:cxn modelId="{90715E5E-9B27-40F7-A402-4DDE571DAE50}" type="presParOf" srcId="{CCC41712-0E23-495F-BBA8-6204E80EDED5}" destId="{DDEB04A7-5483-4E9E-9FBD-8ABBCDDBAE2F}" srcOrd="7" destOrd="0" presId="urn:microsoft.com/office/officeart/2005/8/layout/list1"/>
    <dgm:cxn modelId="{D8F8AFA3-F129-42AD-B411-7ADD522E991C}" type="presParOf" srcId="{CCC41712-0E23-495F-BBA8-6204E80EDED5}" destId="{92BA990A-88AB-43B3-BBA3-56F0D1BE3BF0}" srcOrd="8" destOrd="0" presId="urn:microsoft.com/office/officeart/2005/8/layout/list1"/>
    <dgm:cxn modelId="{1152BA36-E8F0-400E-8BC9-2C0293F0E9D6}" type="presParOf" srcId="{92BA990A-88AB-43B3-BBA3-56F0D1BE3BF0}" destId="{2C00DC2B-7E6F-4E86-86FA-1856878AAF14}" srcOrd="0" destOrd="0" presId="urn:microsoft.com/office/officeart/2005/8/layout/list1"/>
    <dgm:cxn modelId="{DC2483A2-FB63-4EBF-8290-D461E31F1B06}" type="presParOf" srcId="{92BA990A-88AB-43B3-BBA3-56F0D1BE3BF0}" destId="{97D57405-A6E4-4E2E-AC4A-9590B20D628C}" srcOrd="1" destOrd="0" presId="urn:microsoft.com/office/officeart/2005/8/layout/list1"/>
    <dgm:cxn modelId="{F64F7BE0-832F-43C0-9FB3-8175595C6211}" type="presParOf" srcId="{CCC41712-0E23-495F-BBA8-6204E80EDED5}" destId="{8D79E416-7121-4580-9EE3-E703F1E38513}" srcOrd="9" destOrd="0" presId="urn:microsoft.com/office/officeart/2005/8/layout/list1"/>
    <dgm:cxn modelId="{EE54BBBC-853B-4296-B19A-9656C108B28F}" type="presParOf" srcId="{CCC41712-0E23-495F-BBA8-6204E80EDED5}" destId="{A1EF85B2-01A5-4737-A64E-B5D9E31D146A}" srcOrd="10" destOrd="0" presId="urn:microsoft.com/office/officeart/2005/8/layout/list1"/>
    <dgm:cxn modelId="{A3D2D259-6E31-41D1-A006-7361BCFBCE12}" type="presParOf" srcId="{CCC41712-0E23-495F-BBA8-6204E80EDED5}" destId="{C0E6506C-4D90-4EFD-944B-AE4FF1A12542}" srcOrd="11" destOrd="0" presId="urn:microsoft.com/office/officeart/2005/8/layout/list1"/>
    <dgm:cxn modelId="{9900EFE2-EA80-4CC8-8982-81F031F5CC73}" type="presParOf" srcId="{CCC41712-0E23-495F-BBA8-6204E80EDED5}" destId="{C870AA91-705B-4F02-8ECD-93F7AD6AE042}" srcOrd="12" destOrd="0" presId="urn:microsoft.com/office/officeart/2005/8/layout/list1"/>
    <dgm:cxn modelId="{548C96A5-89A5-4BB6-9C8C-1B8AFDFF1195}" type="presParOf" srcId="{C870AA91-705B-4F02-8ECD-93F7AD6AE042}" destId="{E26CEA93-E059-49DF-BF2E-0881398B84F7}" srcOrd="0" destOrd="0" presId="urn:microsoft.com/office/officeart/2005/8/layout/list1"/>
    <dgm:cxn modelId="{5A7C64D8-2877-4324-903D-2BBC2A9F3DA7}" type="presParOf" srcId="{C870AA91-705B-4F02-8ECD-93F7AD6AE042}" destId="{BA5EA82A-4776-4833-B7D5-077F7178B521}" srcOrd="1" destOrd="0" presId="urn:microsoft.com/office/officeart/2005/8/layout/list1"/>
    <dgm:cxn modelId="{C6CB8E15-FA92-43C1-9487-145ABE5D9705}" type="presParOf" srcId="{CCC41712-0E23-495F-BBA8-6204E80EDED5}" destId="{0BF27FD4-B10C-4587-B478-C5461E45D4CA}" srcOrd="13" destOrd="0" presId="urn:microsoft.com/office/officeart/2005/8/layout/list1"/>
    <dgm:cxn modelId="{3F7C8384-DD55-4413-8A5D-95C49C1B3117}" type="presParOf" srcId="{CCC41712-0E23-495F-BBA8-6204E80EDED5}" destId="{23301BE8-F08D-45DE-A521-AE737245E0F6}" srcOrd="14" destOrd="0" presId="urn:microsoft.com/office/officeart/2005/8/layout/list1"/>
    <dgm:cxn modelId="{E9CD2F45-F820-4679-BB33-33B0EFC2906B}" type="presParOf" srcId="{CCC41712-0E23-495F-BBA8-6204E80EDED5}" destId="{B62CA5FB-00A2-44D1-99FA-015012DF1893}" srcOrd="15" destOrd="0" presId="urn:microsoft.com/office/officeart/2005/8/layout/list1"/>
    <dgm:cxn modelId="{A9DB2102-7D7D-431D-A316-585961896808}" type="presParOf" srcId="{CCC41712-0E23-495F-BBA8-6204E80EDED5}" destId="{B6B72C3C-DD26-4419-B310-397FC44660B8}" srcOrd="16" destOrd="0" presId="urn:microsoft.com/office/officeart/2005/8/layout/list1"/>
    <dgm:cxn modelId="{379FC09D-B793-4838-9B84-20F801BC9F5A}" type="presParOf" srcId="{B6B72C3C-DD26-4419-B310-397FC44660B8}" destId="{CB7634F3-2D4A-48DD-868B-F2C6A8E5FBC7}" srcOrd="0" destOrd="0" presId="urn:microsoft.com/office/officeart/2005/8/layout/list1"/>
    <dgm:cxn modelId="{4919713B-BFBF-4A76-B3C0-14CD603DE77B}" type="presParOf" srcId="{B6B72C3C-DD26-4419-B310-397FC44660B8}" destId="{74F62159-9D5B-4FCA-8929-052CD2567DDF}" srcOrd="1" destOrd="0" presId="urn:microsoft.com/office/officeart/2005/8/layout/list1"/>
    <dgm:cxn modelId="{1A05C5AC-38FE-4AA8-BC2F-A3CD367C5A9E}" type="presParOf" srcId="{CCC41712-0E23-495F-BBA8-6204E80EDED5}" destId="{D9B43264-6F35-41EE-AD7E-119839CCC471}" srcOrd="17" destOrd="0" presId="urn:microsoft.com/office/officeart/2005/8/layout/list1"/>
    <dgm:cxn modelId="{5C34038F-A83B-4D5D-A68F-C4BEC8B3A96E}" type="presParOf" srcId="{CCC41712-0E23-495F-BBA8-6204E80EDED5}" destId="{0740B72A-51F6-41C4-8448-FE8985011735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E2E181-40F5-45E8-9321-DB1888D19329}">
      <dsp:nvSpPr>
        <dsp:cNvPr id="0" name=""/>
        <dsp:cNvSpPr/>
      </dsp:nvSpPr>
      <dsp:spPr>
        <a:xfrm>
          <a:off x="0" y="397527"/>
          <a:ext cx="8418961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99B95D-DB22-468E-BFC5-E1EF883D0980}">
      <dsp:nvSpPr>
        <dsp:cNvPr id="0" name=""/>
        <dsp:cNvSpPr/>
      </dsp:nvSpPr>
      <dsp:spPr>
        <a:xfrm>
          <a:off x="420948" y="87567"/>
          <a:ext cx="5893272" cy="6199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52" tIns="0" rIns="222752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latin typeface="TH SarabunPSK" panose="020B0500040200020003" pitchFamily="34" charset="-34"/>
              <a:cs typeface="TH SarabunPSK" panose="020B0500040200020003" pitchFamily="34" charset="-34"/>
            </a:rPr>
            <a:t>ตั๋วเชื่อมต่อระบบ</a:t>
          </a:r>
          <a:endParaRPr lang="en-US" sz="2800" b="1" kern="1200" dirty="0">
            <a:latin typeface="TH SarabunPSK" panose="020B0500040200020003" pitchFamily="34" charset="-34"/>
            <a:cs typeface="TH SarabunPSK" panose="020B0500040200020003" pitchFamily="34" charset="-34"/>
          </a:endParaRPr>
        </a:p>
      </dsp:txBody>
      <dsp:txXfrm>
        <a:off x="451210" y="117829"/>
        <a:ext cx="5832748" cy="559396"/>
      </dsp:txXfrm>
    </dsp:sp>
    <dsp:sp modelId="{E8B7BA25-419A-4D9A-B737-8E642AC4A0F8}">
      <dsp:nvSpPr>
        <dsp:cNvPr id="0" name=""/>
        <dsp:cNvSpPr/>
      </dsp:nvSpPr>
      <dsp:spPr>
        <a:xfrm>
          <a:off x="0" y="1350087"/>
          <a:ext cx="8418961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FF66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309CB0-D57D-43C5-8E3E-72735BAF5C3F}">
      <dsp:nvSpPr>
        <dsp:cNvPr id="0" name=""/>
        <dsp:cNvSpPr/>
      </dsp:nvSpPr>
      <dsp:spPr>
        <a:xfrm>
          <a:off x="420948" y="1040127"/>
          <a:ext cx="5893272" cy="619920"/>
        </a:xfrm>
        <a:prstGeom prst="roundRect">
          <a:avLst/>
        </a:prstGeom>
        <a:solidFill>
          <a:srgbClr val="FF66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52" tIns="0" rIns="222752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latin typeface="TH SarabunPSK" panose="020B0500040200020003" pitchFamily="34" charset="-34"/>
              <a:cs typeface="TH SarabunPSK" panose="020B0500040200020003" pitchFamily="34" charset="-34"/>
            </a:rPr>
            <a:t>ตั๋วเชื่อมต่อระบบแบบมีส่วนลดค่าแรกเข้า</a:t>
          </a:r>
          <a:endParaRPr lang="en-US" sz="2800" b="1" kern="1200" dirty="0">
            <a:latin typeface="TH SarabunPSK" panose="020B0500040200020003" pitchFamily="34" charset="-34"/>
            <a:cs typeface="TH SarabunPSK" panose="020B0500040200020003" pitchFamily="34" charset="-34"/>
          </a:endParaRPr>
        </a:p>
      </dsp:txBody>
      <dsp:txXfrm>
        <a:off x="451210" y="1070389"/>
        <a:ext cx="5832748" cy="559396"/>
      </dsp:txXfrm>
    </dsp:sp>
    <dsp:sp modelId="{A1EF85B2-01A5-4737-A64E-B5D9E31D146A}">
      <dsp:nvSpPr>
        <dsp:cNvPr id="0" name=""/>
        <dsp:cNvSpPr/>
      </dsp:nvSpPr>
      <dsp:spPr>
        <a:xfrm>
          <a:off x="0" y="2302648"/>
          <a:ext cx="8418961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6BA42C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D57405-A6E4-4E2E-AC4A-9590B20D628C}">
      <dsp:nvSpPr>
        <dsp:cNvPr id="0" name=""/>
        <dsp:cNvSpPr/>
      </dsp:nvSpPr>
      <dsp:spPr>
        <a:xfrm>
          <a:off x="420948" y="1992687"/>
          <a:ext cx="5893272" cy="619920"/>
        </a:xfrm>
        <a:prstGeom prst="roundRect">
          <a:avLst/>
        </a:prstGeom>
        <a:solidFill>
          <a:srgbClr val="6BA42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52" tIns="0" rIns="222752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latin typeface="TH SarabunPSK" panose="020B0500040200020003" pitchFamily="34" charset="-34"/>
              <a:cs typeface="TH SarabunPSK" panose="020B0500040200020003" pitchFamily="34" charset="-34"/>
            </a:rPr>
            <a:t>ตั๋วแบบค่าโดยสารราคาเดียว</a:t>
          </a:r>
        </a:p>
      </dsp:txBody>
      <dsp:txXfrm>
        <a:off x="451210" y="2022949"/>
        <a:ext cx="5832748" cy="559396"/>
      </dsp:txXfrm>
    </dsp:sp>
    <dsp:sp modelId="{23301BE8-F08D-45DE-A521-AE737245E0F6}">
      <dsp:nvSpPr>
        <dsp:cNvPr id="0" name=""/>
        <dsp:cNvSpPr/>
      </dsp:nvSpPr>
      <dsp:spPr>
        <a:xfrm>
          <a:off x="0" y="3255208"/>
          <a:ext cx="8418961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5EA82A-4776-4833-B7D5-077F7178B521}">
      <dsp:nvSpPr>
        <dsp:cNvPr id="0" name=""/>
        <dsp:cNvSpPr/>
      </dsp:nvSpPr>
      <dsp:spPr>
        <a:xfrm>
          <a:off x="420948" y="2945248"/>
          <a:ext cx="5893272" cy="619920"/>
        </a:xfrm>
        <a:prstGeom prst="roundRect">
          <a:avLst/>
        </a:prstGeom>
        <a:solidFill>
          <a:schemeClr val="accent4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52" tIns="0" rIns="222752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latin typeface="TH SarabunPSK" panose="020B0500040200020003" pitchFamily="34" charset="-34"/>
              <a:cs typeface="TH SarabunPSK" panose="020B0500040200020003" pitchFamily="34" charset="-34"/>
            </a:rPr>
            <a:t>ตั๋วแบบ การเดินทางกำหนดพื้นที่  </a:t>
          </a:r>
        </a:p>
      </dsp:txBody>
      <dsp:txXfrm>
        <a:off x="451210" y="2975510"/>
        <a:ext cx="5832748" cy="559396"/>
      </dsp:txXfrm>
    </dsp:sp>
    <dsp:sp modelId="{0740B72A-51F6-41C4-8448-FE8985011735}">
      <dsp:nvSpPr>
        <dsp:cNvPr id="0" name=""/>
        <dsp:cNvSpPr/>
      </dsp:nvSpPr>
      <dsp:spPr>
        <a:xfrm>
          <a:off x="0" y="4295336"/>
          <a:ext cx="8418961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FF33CC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F62159-9D5B-4FCA-8929-052CD2567DDF}">
      <dsp:nvSpPr>
        <dsp:cNvPr id="0" name=""/>
        <dsp:cNvSpPr/>
      </dsp:nvSpPr>
      <dsp:spPr>
        <a:xfrm>
          <a:off x="420948" y="3897808"/>
          <a:ext cx="5893272" cy="619920"/>
        </a:xfrm>
        <a:prstGeom prst="roundRect">
          <a:avLst/>
        </a:prstGeom>
        <a:solidFill>
          <a:srgbClr val="FF33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52" tIns="0" rIns="222752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latin typeface="TH SarabunPSK" panose="020B0500040200020003" pitchFamily="34" charset="-34"/>
              <a:cs typeface="TH SarabunPSK" panose="020B0500040200020003" pitchFamily="34" charset="-34"/>
            </a:rPr>
            <a:t>ตั๋วแบบระยะเวลา รายวัน หรือรายเดือน </a:t>
          </a:r>
        </a:p>
      </dsp:txBody>
      <dsp:txXfrm>
        <a:off x="451210" y="3928070"/>
        <a:ext cx="5832748" cy="5593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5"/>
            <a:ext cx="2949098" cy="496967"/>
          </a:xfrm>
          <a:prstGeom prst="rect">
            <a:avLst/>
          </a:prstGeom>
        </p:spPr>
        <p:txBody>
          <a:bodyPr vert="horz" lIns="95657" tIns="47828" rIns="95657" bIns="47828" rtlCol="0"/>
          <a:lstStyle>
            <a:lvl1pPr algn="l">
              <a:defRPr sz="1300"/>
            </a:lvl1pPr>
          </a:lstStyle>
          <a:p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4" y="5"/>
            <a:ext cx="2949098" cy="496967"/>
          </a:xfrm>
          <a:prstGeom prst="rect">
            <a:avLst/>
          </a:prstGeom>
        </p:spPr>
        <p:txBody>
          <a:bodyPr vert="horz" lIns="95657" tIns="47828" rIns="95657" bIns="47828" rtlCol="0"/>
          <a:lstStyle>
            <a:lvl1pPr algn="r">
              <a:defRPr sz="1300"/>
            </a:lvl1pPr>
          </a:lstStyle>
          <a:p>
            <a:fld id="{189CE1CB-B726-4D15-AD5E-82866919E8C0}" type="datetimeFigureOut">
              <a:rPr lang="th-TH" smtClean="0"/>
              <a:pPr/>
              <a:t>02/04/58</a:t>
            </a:fld>
            <a:endParaRPr lang="th-T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7287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57" tIns="47828" rIns="95657" bIns="47828" rtlCol="0" anchor="ctr"/>
          <a:lstStyle/>
          <a:p>
            <a:endParaRPr lang="th-T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5657" tIns="47828" rIns="95657" bIns="4782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440652"/>
            <a:ext cx="2949098" cy="496967"/>
          </a:xfrm>
          <a:prstGeom prst="rect">
            <a:avLst/>
          </a:prstGeom>
        </p:spPr>
        <p:txBody>
          <a:bodyPr vert="horz" lIns="95657" tIns="47828" rIns="95657" bIns="47828" rtlCol="0" anchor="b"/>
          <a:lstStyle>
            <a:lvl1pPr algn="l">
              <a:defRPr sz="1300"/>
            </a:lvl1pPr>
          </a:lstStyle>
          <a:p>
            <a:endParaRPr lang="th-T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4" y="9440652"/>
            <a:ext cx="2949098" cy="496967"/>
          </a:xfrm>
          <a:prstGeom prst="rect">
            <a:avLst/>
          </a:prstGeom>
        </p:spPr>
        <p:txBody>
          <a:bodyPr vert="horz" lIns="95657" tIns="47828" rIns="95657" bIns="47828" rtlCol="0" anchor="b"/>
          <a:lstStyle>
            <a:lvl1pPr algn="r">
              <a:defRPr sz="1300"/>
            </a:lvl1pPr>
          </a:lstStyle>
          <a:p>
            <a:fld id="{759321B2-5923-4A3F-82CF-779DE994B98B}" type="slidenum">
              <a:rPr lang="th-TH" smtClean="0"/>
              <a:pPr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736993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6728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39BA0B-F5C5-4B2B-920A-9DF4D7CE87B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6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290D18-A600-49D8-9BB9-D293B6180E96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088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h-T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9321B2-5923-4A3F-82CF-779DE994B98B}" type="slidenum">
              <a:rPr lang="th-TH" smtClean="0">
                <a:solidFill>
                  <a:prstClr val="black"/>
                </a:solidFill>
              </a:rPr>
              <a:pPr/>
              <a:t>24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327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image" Target="../media/image1.emf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2" Type="http://schemas.openxmlformats.org/officeDocument/2006/relationships/tags" Target="../tags/tag60.xml"/><Relationship Id="rId1" Type="http://schemas.openxmlformats.org/officeDocument/2006/relationships/vmlDrawing" Target="../drawings/vmlDrawing8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image" Target="../media/image1.emf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9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image" Target="../media/image1.emf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3.xml"/><Relationship Id="rId7" Type="http://schemas.openxmlformats.org/officeDocument/2006/relationships/oleObject" Target="../embeddings/oleObject10.bin"/><Relationship Id="rId2" Type="http://schemas.openxmlformats.org/officeDocument/2006/relationships/tags" Target="../tags/tag82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86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1.xml"/><Relationship Id="rId7" Type="http://schemas.openxmlformats.org/officeDocument/2006/relationships/oleObject" Target="../embeddings/oleObject12.bin"/><Relationship Id="rId2" Type="http://schemas.openxmlformats.org/officeDocument/2006/relationships/tags" Target="../tags/tag90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3.xml"/><Relationship Id="rId4" Type="http://schemas.openxmlformats.org/officeDocument/2006/relationships/tags" Target="../tags/tag9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image" Target="../media/image1.emf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tags" Target="../tags/tag12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5" Type="http://schemas.openxmlformats.org/officeDocument/2006/relationships/image" Target="../media/image1.emf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8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27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31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4.xml"/><Relationship Id="rId4" Type="http://schemas.openxmlformats.org/officeDocument/2006/relationships/tags" Target="../tags/tag13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6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35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8.xml"/><Relationship Id="rId4" Type="http://schemas.openxmlformats.org/officeDocument/2006/relationships/tags" Target="../tags/tag13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3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image" Target="../media/image1.emf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4.xml"/><Relationship Id="rId11" Type="http://schemas.openxmlformats.org/officeDocument/2006/relationships/tags" Target="../tags/tag159.xml"/><Relationship Id="rId5" Type="http://schemas.openxmlformats.org/officeDocument/2006/relationships/tags" Target="../tags/tag153.xml"/><Relationship Id="rId15" Type="http://schemas.openxmlformats.org/officeDocument/2006/relationships/image" Target="../media/image1.emf"/><Relationship Id="rId10" Type="http://schemas.openxmlformats.org/officeDocument/2006/relationships/tags" Target="../tags/tag158.xml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5" Type="http://schemas.openxmlformats.org/officeDocument/2006/relationships/image" Target="../media/image1.emf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3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72.xml"/><Relationship Id="rId1" Type="http://schemas.openxmlformats.org/officeDocument/2006/relationships/vmlDrawing" Target="../drawings/vmlDrawing22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5.xml"/><Relationship Id="rId4" Type="http://schemas.openxmlformats.org/officeDocument/2006/relationships/tags" Target="../tags/tag17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7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76.xml"/><Relationship Id="rId1" Type="http://schemas.openxmlformats.org/officeDocument/2006/relationships/vmlDrawing" Target="../drawings/vmlDrawing23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1.xml"/><Relationship Id="rId7" Type="http://schemas.openxmlformats.org/officeDocument/2006/relationships/oleObject" Target="../embeddings/oleObject24.bin"/><Relationship Id="rId2" Type="http://schemas.openxmlformats.org/officeDocument/2006/relationships/tags" Target="../tags/tag180.xml"/><Relationship Id="rId1" Type="http://schemas.openxmlformats.org/officeDocument/2006/relationships/vmlDrawing" Target="../drawings/vmlDrawing24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3.xml"/><Relationship Id="rId4" Type="http://schemas.openxmlformats.org/officeDocument/2006/relationships/tags" Target="../tags/tag18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oleObject" Target="../embeddings/oleObject4.bin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6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4870163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242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00800" y="165100"/>
            <a:ext cx="25908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black"/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5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6" name="Line 20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  <p:custDataLst>
              <p:tags r:id="rId6"/>
            </p:custDataLst>
          </p:nvPr>
        </p:nvSpPr>
        <p:spPr>
          <a:xfrm>
            <a:off x="685800" y="1952954"/>
            <a:ext cx="7772400" cy="1171257"/>
          </a:xfrm>
        </p:spPr>
        <p:txBody>
          <a:bodyPr/>
          <a:lstStyle>
            <a:lvl1pPr>
              <a:defRPr sz="3600">
                <a:latin typeface="Browallia New" pitchFamily="34" charset="-34"/>
                <a:cs typeface="Browallia New" pitchFamily="34" charset="-34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11" name="Rectangle 19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2" name="Line 20"/>
          <p:cNvSpPr>
            <a:spLocks noChangeShapeType="1"/>
          </p:cNvSpPr>
          <p:nvPr userDrawn="1">
            <p:custDataLst>
              <p:tags r:id="rId10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703385" y="3246120"/>
            <a:ext cx="3094892" cy="640080"/>
          </a:xfrm>
        </p:spPr>
        <p:txBody>
          <a:bodyPr/>
          <a:lstStyle>
            <a:lvl1pPr marL="0" indent="0">
              <a:buNone/>
              <a:defRPr sz="3600"/>
            </a:lvl1pPr>
          </a:lstStyle>
          <a:p>
            <a:pPr lvl="0"/>
            <a:r>
              <a:rPr lang="en-US" sz="3600" dirty="0" smtClean="0"/>
              <a:t>date</a:t>
            </a:r>
            <a:endParaRPr lang="en-US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2"/>
            <p:custDataLst>
              <p:tags r:id="rId12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3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451441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7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00800" y="165100"/>
            <a:ext cx="25908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black"/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5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6" name="Line 20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  <p:custDataLst>
              <p:tags r:id="rId6"/>
            </p:custDataLst>
          </p:nvPr>
        </p:nvSpPr>
        <p:spPr>
          <a:xfrm>
            <a:off x="685800" y="1952954"/>
            <a:ext cx="7772400" cy="1171257"/>
          </a:xfrm>
        </p:spPr>
        <p:txBody>
          <a:bodyPr/>
          <a:lstStyle>
            <a:lvl1pPr>
              <a:defRPr sz="3600">
                <a:latin typeface="Browallia New" pitchFamily="34" charset="-34"/>
                <a:cs typeface="Browallia New" pitchFamily="34" charset="-34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11" name="Rectangle 19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2" name="Line 20"/>
          <p:cNvSpPr>
            <a:spLocks noChangeShapeType="1"/>
          </p:cNvSpPr>
          <p:nvPr userDrawn="1">
            <p:custDataLst>
              <p:tags r:id="rId10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703385" y="3246120"/>
            <a:ext cx="3094892" cy="640080"/>
          </a:xfrm>
        </p:spPr>
        <p:txBody>
          <a:bodyPr/>
          <a:lstStyle>
            <a:lvl1pPr marL="0" indent="0">
              <a:buNone/>
              <a:defRPr sz="3600"/>
            </a:lvl1pPr>
          </a:lstStyle>
          <a:p>
            <a:pPr lvl="0"/>
            <a:r>
              <a:rPr lang="en-US" sz="3600" dirty="0" smtClean="0"/>
              <a:t>date</a:t>
            </a:r>
            <a:endParaRPr lang="en-US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2"/>
            <p:custDataLst>
              <p:tags r:id="rId12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514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313780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7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00800" y="165100"/>
            <a:ext cx="25908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black"/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5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6" name="Line 20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685800" y="2130538"/>
            <a:ext cx="7772400" cy="1470025"/>
          </a:xfrm>
        </p:spPr>
        <p:txBody>
          <a:bodyPr/>
          <a:lstStyle>
            <a:lvl1pPr>
              <a:defRPr sz="4000" baseline="0">
                <a:latin typeface="Browallia New" pitchFamily="34" charset="-34"/>
                <a:cs typeface="Browallia New" pitchFamily="34" charset="-34"/>
              </a:defRPr>
            </a:lvl1pPr>
          </a:lstStyle>
          <a:p>
            <a:r>
              <a:rPr lang="en-US" dirty="0" smtClean="0"/>
              <a:t>Section xx :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10" name="Text Box 14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6400800" y="165100"/>
            <a:ext cx="25908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black"/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11" name="Rectangle 19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2" name="Line 20"/>
          <p:cNvSpPr>
            <a:spLocks noChangeShapeType="1"/>
          </p:cNvSpPr>
          <p:nvPr userDrawn="1">
            <p:custDataLst>
              <p:tags r:id="rId11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2"/>
            <p:custDataLst>
              <p:tags r:id="rId12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832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2519037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7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0927" y="404664"/>
            <a:ext cx="7749366" cy="504056"/>
          </a:xfrm>
        </p:spPr>
        <p:txBody>
          <a:bodyPr/>
          <a:lstStyle>
            <a:lvl1pPr>
              <a:lnSpc>
                <a:spcPct val="75000"/>
              </a:lnSpc>
              <a:defRPr sz="2800">
                <a:latin typeface="Cordia New" pitchFamily="34" charset="-34"/>
                <a:ea typeface="Tahoma" pitchFamily="34" charset="0"/>
                <a:cs typeface="Cordia New" pitchFamily="34" charset="-34"/>
                <a:sym typeface="Cordia Ne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h-TH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3707904" y="6388100"/>
            <a:ext cx="2967655" cy="281260"/>
          </a:xfrm>
        </p:spPr>
        <p:txBody>
          <a:bodyPr/>
          <a:lstStyle>
            <a:lvl1pPr marL="0" indent="0" defTabSz="363538">
              <a:buNone/>
              <a:tabLst>
                <a:tab pos="363538" algn="l"/>
              </a:tabLst>
              <a:defRPr sz="1200" b="0" i="0" baseline="0">
                <a:solidFill>
                  <a:schemeClr val="tx1"/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note	</a:t>
            </a:r>
          </a:p>
        </p:txBody>
      </p:sp>
    </p:spTree>
    <p:extLst>
      <p:ext uri="{BB962C8B-B14F-4D97-AF65-F5344CB8AC3E}">
        <p14:creationId xmlns:p14="http://schemas.microsoft.com/office/powerpoint/2010/main" val="2962535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701043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7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0927" y="404664"/>
            <a:ext cx="7749366" cy="504056"/>
          </a:xfrm>
        </p:spPr>
        <p:txBody>
          <a:bodyPr/>
          <a:lstStyle>
            <a:lvl1pPr>
              <a:lnSpc>
                <a:spcPct val="75000"/>
              </a:lnSpc>
              <a:defRPr sz="2800">
                <a:latin typeface="Cordia New" pitchFamily="34" charset="-34"/>
                <a:ea typeface="Tahoma" pitchFamily="34" charset="0"/>
                <a:cs typeface="Cordia New" pitchFamily="34" charset="-34"/>
                <a:sym typeface="Cordia Ne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h-TH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382" y="6518286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3779912" y="6388100"/>
            <a:ext cx="2895647" cy="469900"/>
          </a:xfrm>
        </p:spPr>
        <p:txBody>
          <a:bodyPr/>
          <a:lstStyle>
            <a:lvl1pPr marL="0" indent="0" defTabSz="363538">
              <a:buNone/>
              <a:tabLst>
                <a:tab pos="363538" algn="l"/>
              </a:tabLst>
              <a:defRPr sz="1200" b="0" i="0" baseline="0">
                <a:solidFill>
                  <a:schemeClr val="tx1"/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note	</a:t>
            </a:r>
          </a:p>
        </p:txBody>
      </p:sp>
    </p:spTree>
    <p:extLst>
      <p:ext uri="{BB962C8B-B14F-4D97-AF65-F5344CB8AC3E}">
        <p14:creationId xmlns:p14="http://schemas.microsoft.com/office/powerpoint/2010/main" val="1739955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486786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7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0927" y="404664"/>
            <a:ext cx="7749366" cy="504056"/>
          </a:xfrm>
        </p:spPr>
        <p:txBody>
          <a:bodyPr/>
          <a:lstStyle>
            <a:lvl1pPr>
              <a:lnSpc>
                <a:spcPct val="75000"/>
              </a:lnSpc>
              <a:defRPr sz="2800">
                <a:latin typeface="Cordia New" pitchFamily="34" charset="-34"/>
                <a:ea typeface="Tahoma" pitchFamily="34" charset="0"/>
                <a:cs typeface="Cordia New" pitchFamily="34" charset="-34"/>
                <a:sym typeface="Cordia Ne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h-TH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3779912" y="6388100"/>
            <a:ext cx="2895647" cy="353268"/>
          </a:xfrm>
        </p:spPr>
        <p:txBody>
          <a:bodyPr/>
          <a:lstStyle>
            <a:lvl1pPr marL="0" indent="0" defTabSz="363538">
              <a:buNone/>
              <a:tabLst>
                <a:tab pos="363538" algn="l"/>
              </a:tabLst>
              <a:defRPr sz="1200" b="0" i="0" baseline="0">
                <a:solidFill>
                  <a:schemeClr val="tx1"/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note	</a:t>
            </a:r>
          </a:p>
        </p:txBody>
      </p:sp>
    </p:spTree>
    <p:extLst>
      <p:ext uri="{BB962C8B-B14F-4D97-AF65-F5344CB8AC3E}">
        <p14:creationId xmlns:p14="http://schemas.microsoft.com/office/powerpoint/2010/main" val="3298428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11971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3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00800" y="165100"/>
            <a:ext cx="25908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black"/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5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6" name="Line 20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  <p:custDataLst>
              <p:tags r:id="rId6"/>
            </p:custDataLst>
          </p:nvPr>
        </p:nvSpPr>
        <p:spPr>
          <a:xfrm>
            <a:off x="685800" y="1952954"/>
            <a:ext cx="7772400" cy="1171257"/>
          </a:xfrm>
        </p:spPr>
        <p:txBody>
          <a:bodyPr/>
          <a:lstStyle>
            <a:lvl1pPr>
              <a:defRPr sz="3600">
                <a:latin typeface="Browallia New" pitchFamily="34" charset="-34"/>
                <a:cs typeface="Browallia New" pitchFamily="34" charset="-34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11" name="Rectangle 19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2" name="Line 20"/>
          <p:cNvSpPr>
            <a:spLocks noChangeShapeType="1"/>
          </p:cNvSpPr>
          <p:nvPr userDrawn="1">
            <p:custDataLst>
              <p:tags r:id="rId10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703385" y="3246120"/>
            <a:ext cx="3094892" cy="640080"/>
          </a:xfrm>
        </p:spPr>
        <p:txBody>
          <a:bodyPr/>
          <a:lstStyle>
            <a:lvl1pPr marL="0" indent="0">
              <a:buNone/>
              <a:defRPr sz="3600"/>
            </a:lvl1pPr>
          </a:lstStyle>
          <a:p>
            <a:pPr lvl="0"/>
            <a:r>
              <a:rPr lang="en-US" sz="3600" dirty="0" smtClean="0"/>
              <a:t>date</a:t>
            </a:r>
            <a:endParaRPr lang="en-US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2"/>
            <p:custDataLst>
              <p:tags r:id="rId12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130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428984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3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00800" y="165100"/>
            <a:ext cx="25908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black"/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5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6" name="Line 20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685800" y="2130538"/>
            <a:ext cx="7772400" cy="1470025"/>
          </a:xfrm>
        </p:spPr>
        <p:txBody>
          <a:bodyPr/>
          <a:lstStyle>
            <a:lvl1pPr>
              <a:defRPr sz="4000" baseline="0">
                <a:latin typeface="Browallia New" pitchFamily="34" charset="-34"/>
                <a:cs typeface="Browallia New" pitchFamily="34" charset="-34"/>
              </a:defRPr>
            </a:lvl1pPr>
          </a:lstStyle>
          <a:p>
            <a:r>
              <a:rPr lang="en-US" dirty="0" smtClean="0"/>
              <a:t>Section xx :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10" name="Text Box 14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6400800" y="165100"/>
            <a:ext cx="25908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black"/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11" name="Rectangle 19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2" name="Line 20"/>
          <p:cNvSpPr>
            <a:spLocks noChangeShapeType="1"/>
          </p:cNvSpPr>
          <p:nvPr userDrawn="1">
            <p:custDataLst>
              <p:tags r:id="rId11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2"/>
            <p:custDataLst>
              <p:tags r:id="rId12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235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2645201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3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0927" y="404664"/>
            <a:ext cx="7749366" cy="504056"/>
          </a:xfrm>
        </p:spPr>
        <p:txBody>
          <a:bodyPr/>
          <a:lstStyle>
            <a:lvl1pPr>
              <a:lnSpc>
                <a:spcPct val="75000"/>
              </a:lnSpc>
              <a:defRPr sz="2800">
                <a:latin typeface="Cordia New" pitchFamily="34" charset="-34"/>
                <a:ea typeface="Tahoma" pitchFamily="34" charset="0"/>
                <a:cs typeface="Cordia New" pitchFamily="34" charset="-34"/>
                <a:sym typeface="Cordia Ne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h-TH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3707904" y="6388100"/>
            <a:ext cx="2967655" cy="281260"/>
          </a:xfrm>
        </p:spPr>
        <p:txBody>
          <a:bodyPr/>
          <a:lstStyle>
            <a:lvl1pPr marL="0" indent="0" defTabSz="363538">
              <a:buNone/>
              <a:tabLst>
                <a:tab pos="363538" algn="l"/>
              </a:tabLst>
              <a:defRPr sz="1200" b="0" i="0" baseline="0">
                <a:solidFill>
                  <a:schemeClr val="tx1"/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note	</a:t>
            </a:r>
          </a:p>
        </p:txBody>
      </p:sp>
    </p:spTree>
    <p:extLst>
      <p:ext uri="{BB962C8B-B14F-4D97-AF65-F5344CB8AC3E}">
        <p14:creationId xmlns:p14="http://schemas.microsoft.com/office/powerpoint/2010/main" val="690756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1627769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3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0927" y="404664"/>
            <a:ext cx="7749366" cy="504056"/>
          </a:xfrm>
        </p:spPr>
        <p:txBody>
          <a:bodyPr/>
          <a:lstStyle>
            <a:lvl1pPr>
              <a:lnSpc>
                <a:spcPct val="75000"/>
              </a:lnSpc>
              <a:defRPr sz="2800">
                <a:latin typeface="Cordia New" pitchFamily="34" charset="-34"/>
                <a:ea typeface="Tahoma" pitchFamily="34" charset="0"/>
                <a:cs typeface="Cordia New" pitchFamily="34" charset="-34"/>
                <a:sym typeface="Cordia Ne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h-TH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382" y="6518286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3779912" y="6388100"/>
            <a:ext cx="2895647" cy="469900"/>
          </a:xfrm>
        </p:spPr>
        <p:txBody>
          <a:bodyPr/>
          <a:lstStyle>
            <a:lvl1pPr marL="0" indent="0" defTabSz="363538">
              <a:buNone/>
              <a:tabLst>
                <a:tab pos="363538" algn="l"/>
              </a:tabLst>
              <a:defRPr sz="1200" b="0" i="0" baseline="0">
                <a:solidFill>
                  <a:schemeClr val="tx1"/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note	</a:t>
            </a:r>
          </a:p>
        </p:txBody>
      </p:sp>
    </p:spTree>
    <p:extLst>
      <p:ext uri="{BB962C8B-B14F-4D97-AF65-F5344CB8AC3E}">
        <p14:creationId xmlns:p14="http://schemas.microsoft.com/office/powerpoint/2010/main" val="3104356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2783100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3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0927" y="404664"/>
            <a:ext cx="7749366" cy="504056"/>
          </a:xfrm>
        </p:spPr>
        <p:txBody>
          <a:bodyPr/>
          <a:lstStyle>
            <a:lvl1pPr>
              <a:lnSpc>
                <a:spcPct val="75000"/>
              </a:lnSpc>
              <a:defRPr sz="2800">
                <a:latin typeface="Cordia New" pitchFamily="34" charset="-34"/>
                <a:ea typeface="Tahoma" pitchFamily="34" charset="0"/>
                <a:cs typeface="Cordia New" pitchFamily="34" charset="-34"/>
                <a:sym typeface="Cordia Ne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h-TH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3779912" y="6388100"/>
            <a:ext cx="2895647" cy="353268"/>
          </a:xfrm>
        </p:spPr>
        <p:txBody>
          <a:bodyPr/>
          <a:lstStyle>
            <a:lvl1pPr marL="0" indent="0" defTabSz="363538">
              <a:buNone/>
              <a:tabLst>
                <a:tab pos="363538" algn="l"/>
              </a:tabLst>
              <a:defRPr sz="1200" b="0" i="0" baseline="0">
                <a:solidFill>
                  <a:schemeClr val="tx1"/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note	</a:t>
            </a:r>
          </a:p>
        </p:txBody>
      </p:sp>
    </p:spTree>
    <p:extLst>
      <p:ext uri="{BB962C8B-B14F-4D97-AF65-F5344CB8AC3E}">
        <p14:creationId xmlns:p14="http://schemas.microsoft.com/office/powerpoint/2010/main" val="137746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3453392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241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00800" y="165100"/>
            <a:ext cx="25908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black"/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5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6" name="Line 20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685800" y="2130538"/>
            <a:ext cx="7772400" cy="1470025"/>
          </a:xfrm>
        </p:spPr>
        <p:txBody>
          <a:bodyPr/>
          <a:lstStyle>
            <a:lvl1pPr>
              <a:defRPr sz="4000" baseline="0">
                <a:latin typeface="Browallia New" pitchFamily="34" charset="-34"/>
                <a:cs typeface="Browallia New" pitchFamily="34" charset="-34"/>
              </a:defRPr>
            </a:lvl1pPr>
          </a:lstStyle>
          <a:p>
            <a:r>
              <a:rPr lang="en-US" dirty="0" smtClean="0"/>
              <a:t>Section xx :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10" name="Text Box 14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6400800" y="165100"/>
            <a:ext cx="25908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black"/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11" name="Rectangle 19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2" name="Line 20"/>
          <p:cNvSpPr>
            <a:spLocks noChangeShapeType="1"/>
          </p:cNvSpPr>
          <p:nvPr userDrawn="1">
            <p:custDataLst>
              <p:tags r:id="rId11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2"/>
            <p:custDataLst>
              <p:tags r:id="rId12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087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998939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00800" y="165100"/>
            <a:ext cx="25908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black"/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5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6" name="Line 20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  <p:custDataLst>
              <p:tags r:id="rId6"/>
            </p:custDataLst>
          </p:nvPr>
        </p:nvSpPr>
        <p:spPr>
          <a:xfrm>
            <a:off x="685800" y="1952954"/>
            <a:ext cx="7772400" cy="1171257"/>
          </a:xfrm>
        </p:spPr>
        <p:txBody>
          <a:bodyPr/>
          <a:lstStyle>
            <a:lvl1pPr>
              <a:defRPr sz="3600">
                <a:latin typeface="Browallia New" pitchFamily="34" charset="-34"/>
                <a:cs typeface="Browallia New" pitchFamily="34" charset="-34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11" name="Rectangle 19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2" name="Line 20"/>
          <p:cNvSpPr>
            <a:spLocks noChangeShapeType="1"/>
          </p:cNvSpPr>
          <p:nvPr userDrawn="1">
            <p:custDataLst>
              <p:tags r:id="rId10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703385" y="3246120"/>
            <a:ext cx="3094892" cy="640080"/>
          </a:xfrm>
        </p:spPr>
        <p:txBody>
          <a:bodyPr/>
          <a:lstStyle>
            <a:lvl1pPr marL="0" indent="0">
              <a:buNone/>
              <a:defRPr sz="3600"/>
            </a:lvl1pPr>
          </a:lstStyle>
          <a:p>
            <a:pPr lvl="0"/>
            <a:r>
              <a:rPr lang="en-US" sz="3600" dirty="0" smtClean="0"/>
              <a:t>date</a:t>
            </a:r>
            <a:endParaRPr lang="en-US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2"/>
            <p:custDataLst>
              <p:tags r:id="rId12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900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399942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00800" y="165100"/>
            <a:ext cx="25908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black"/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5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6" name="Line 20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685800" y="2130538"/>
            <a:ext cx="7772400" cy="1470025"/>
          </a:xfrm>
        </p:spPr>
        <p:txBody>
          <a:bodyPr/>
          <a:lstStyle>
            <a:lvl1pPr>
              <a:defRPr sz="4000" baseline="0">
                <a:latin typeface="Browallia New" pitchFamily="34" charset="-34"/>
                <a:cs typeface="Browallia New" pitchFamily="34" charset="-34"/>
              </a:defRPr>
            </a:lvl1pPr>
          </a:lstStyle>
          <a:p>
            <a:r>
              <a:rPr lang="en-US" dirty="0" smtClean="0"/>
              <a:t>Section xx :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</a:endParaRPr>
          </a:p>
        </p:txBody>
      </p:sp>
      <p:sp>
        <p:nvSpPr>
          <p:cNvPr id="10" name="Text Box 14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6400800" y="165100"/>
            <a:ext cx="25908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black"/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11" name="Rectangle 19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3" y="1846276"/>
            <a:ext cx="361950" cy="2003425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2" name="Line 20"/>
          <p:cNvSpPr>
            <a:spLocks noChangeShapeType="1"/>
          </p:cNvSpPr>
          <p:nvPr userDrawn="1">
            <p:custDataLst>
              <p:tags r:id="rId11"/>
            </p:custDataLst>
          </p:nvPr>
        </p:nvSpPr>
        <p:spPr bwMode="auto">
          <a:xfrm flipH="1">
            <a:off x="529004" y="2117725"/>
            <a:ext cx="11723" cy="1455738"/>
          </a:xfrm>
          <a:prstGeom prst="line">
            <a:avLst/>
          </a:prstGeom>
          <a:noFill/>
          <a:ln w="57150">
            <a:solidFill>
              <a:srgbClr val="33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2"/>
            <p:custDataLst>
              <p:tags r:id="rId12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789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98401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0927" y="404664"/>
            <a:ext cx="7749366" cy="504056"/>
          </a:xfrm>
        </p:spPr>
        <p:txBody>
          <a:bodyPr/>
          <a:lstStyle>
            <a:lvl1pPr>
              <a:lnSpc>
                <a:spcPct val="75000"/>
              </a:lnSpc>
              <a:defRPr sz="2800">
                <a:latin typeface="Cordia New" pitchFamily="34" charset="-34"/>
                <a:ea typeface="Tahoma" pitchFamily="34" charset="0"/>
                <a:cs typeface="Cordia New" pitchFamily="34" charset="-34"/>
                <a:sym typeface="Cordia Ne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h-TH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3707904" y="6388100"/>
            <a:ext cx="2967655" cy="281260"/>
          </a:xfrm>
        </p:spPr>
        <p:txBody>
          <a:bodyPr/>
          <a:lstStyle>
            <a:lvl1pPr marL="0" indent="0" defTabSz="363538">
              <a:buNone/>
              <a:tabLst>
                <a:tab pos="363538" algn="l"/>
              </a:tabLst>
              <a:defRPr sz="1200" b="0" i="0" baseline="0">
                <a:solidFill>
                  <a:schemeClr val="tx1"/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note	</a:t>
            </a:r>
          </a:p>
        </p:txBody>
      </p:sp>
    </p:spTree>
    <p:extLst>
      <p:ext uri="{BB962C8B-B14F-4D97-AF65-F5344CB8AC3E}">
        <p14:creationId xmlns:p14="http://schemas.microsoft.com/office/powerpoint/2010/main" val="3051525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4832897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0927" y="404664"/>
            <a:ext cx="7749366" cy="504056"/>
          </a:xfrm>
        </p:spPr>
        <p:txBody>
          <a:bodyPr/>
          <a:lstStyle>
            <a:lvl1pPr>
              <a:lnSpc>
                <a:spcPct val="75000"/>
              </a:lnSpc>
              <a:defRPr sz="2800">
                <a:latin typeface="Cordia New" pitchFamily="34" charset="-34"/>
                <a:ea typeface="Tahoma" pitchFamily="34" charset="0"/>
                <a:cs typeface="Cordia New" pitchFamily="34" charset="-34"/>
                <a:sym typeface="Cordia Ne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h-TH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382" y="6518286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3779912" y="6388100"/>
            <a:ext cx="2895647" cy="469900"/>
          </a:xfrm>
        </p:spPr>
        <p:txBody>
          <a:bodyPr/>
          <a:lstStyle>
            <a:lvl1pPr marL="0" indent="0" defTabSz="363538">
              <a:buNone/>
              <a:tabLst>
                <a:tab pos="363538" algn="l"/>
              </a:tabLst>
              <a:defRPr sz="1200" b="0" i="0" baseline="0">
                <a:solidFill>
                  <a:schemeClr val="tx1"/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note	</a:t>
            </a:r>
          </a:p>
        </p:txBody>
      </p:sp>
    </p:spTree>
    <p:extLst>
      <p:ext uri="{BB962C8B-B14F-4D97-AF65-F5344CB8AC3E}">
        <p14:creationId xmlns:p14="http://schemas.microsoft.com/office/powerpoint/2010/main" val="2881454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51587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0927" y="404664"/>
            <a:ext cx="7749366" cy="504056"/>
          </a:xfrm>
        </p:spPr>
        <p:txBody>
          <a:bodyPr/>
          <a:lstStyle>
            <a:lvl1pPr>
              <a:lnSpc>
                <a:spcPct val="75000"/>
              </a:lnSpc>
              <a:defRPr sz="2800">
                <a:latin typeface="Cordia New" pitchFamily="34" charset="-34"/>
                <a:ea typeface="Tahoma" pitchFamily="34" charset="0"/>
                <a:cs typeface="Cordia New" pitchFamily="34" charset="-34"/>
                <a:sym typeface="Cordia Ne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h-TH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3779912" y="6388100"/>
            <a:ext cx="2895647" cy="353268"/>
          </a:xfrm>
        </p:spPr>
        <p:txBody>
          <a:bodyPr/>
          <a:lstStyle>
            <a:lvl1pPr marL="0" indent="0" defTabSz="363538">
              <a:buNone/>
              <a:tabLst>
                <a:tab pos="363538" algn="l"/>
              </a:tabLst>
              <a:defRPr sz="1200" b="0" i="0" baseline="0">
                <a:solidFill>
                  <a:schemeClr val="tx1"/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note	</a:t>
            </a:r>
          </a:p>
        </p:txBody>
      </p:sp>
    </p:spTree>
    <p:extLst>
      <p:ext uri="{BB962C8B-B14F-4D97-AF65-F5344CB8AC3E}">
        <p14:creationId xmlns:p14="http://schemas.microsoft.com/office/powerpoint/2010/main" val="4097046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30639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42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0927" y="404664"/>
            <a:ext cx="7749366" cy="504056"/>
          </a:xfrm>
        </p:spPr>
        <p:txBody>
          <a:bodyPr/>
          <a:lstStyle>
            <a:lvl1pPr>
              <a:lnSpc>
                <a:spcPct val="75000"/>
              </a:lnSpc>
              <a:defRPr sz="2800">
                <a:latin typeface="Cordia New" pitchFamily="34" charset="-34"/>
                <a:ea typeface="Tahoma" pitchFamily="34" charset="0"/>
                <a:cs typeface="Cordia New" pitchFamily="34" charset="-34"/>
                <a:sym typeface="Cordia Ne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h-TH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426" y="6518374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3707904" y="6388100"/>
            <a:ext cx="2967655" cy="281260"/>
          </a:xfrm>
        </p:spPr>
        <p:txBody>
          <a:bodyPr/>
          <a:lstStyle>
            <a:lvl1pPr marL="0" indent="0" defTabSz="363538">
              <a:buNone/>
              <a:tabLst>
                <a:tab pos="363538" algn="l"/>
              </a:tabLst>
              <a:defRPr sz="1200" b="0" i="0" baseline="0">
                <a:solidFill>
                  <a:schemeClr val="tx1"/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note	</a:t>
            </a:r>
          </a:p>
        </p:txBody>
      </p:sp>
    </p:spTree>
    <p:extLst>
      <p:ext uri="{BB962C8B-B14F-4D97-AF65-F5344CB8AC3E}">
        <p14:creationId xmlns:p14="http://schemas.microsoft.com/office/powerpoint/2010/main" val="1955716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829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0927" y="404664"/>
            <a:ext cx="7749366" cy="504056"/>
          </a:xfrm>
        </p:spPr>
        <p:txBody>
          <a:bodyPr/>
          <a:lstStyle>
            <a:lvl1pPr>
              <a:lnSpc>
                <a:spcPct val="75000"/>
              </a:lnSpc>
              <a:defRPr sz="2400">
                <a:latin typeface="Browallia New" pitchFamily="34" charset="-34"/>
                <a:ea typeface="Tahoma" pitchFamily="34" charset="0"/>
                <a:cs typeface="Browallia New" pitchFamily="34" charset="-34"/>
                <a:sym typeface="Cordia Ne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h-TH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379" y="6518280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/>
              <a:pPr>
                <a:defRPr/>
              </a:pPr>
              <a:t>‹#›</a:t>
            </a:fld>
            <a:endParaRPr lang="th-TH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9652" y="22043"/>
            <a:ext cx="6782291" cy="254957"/>
          </a:xfrm>
        </p:spPr>
        <p:txBody>
          <a:bodyPr/>
          <a:lstStyle>
            <a:lvl1pPr marL="0" indent="0">
              <a:lnSpc>
                <a:spcPct val="75000"/>
              </a:lnSpc>
              <a:buNone/>
              <a:defRPr sz="1800" b="1" i="1">
                <a:solidFill>
                  <a:schemeClr val="bg1">
                    <a:lumMod val="50000"/>
                  </a:schemeClr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3418582" y="6388100"/>
            <a:ext cx="3256977" cy="302468"/>
          </a:xfrm>
        </p:spPr>
        <p:txBody>
          <a:bodyPr/>
          <a:lstStyle>
            <a:lvl1pPr marL="0" indent="0" defTabSz="363538">
              <a:buNone/>
              <a:tabLst>
                <a:tab pos="363538" algn="l"/>
              </a:tabLst>
              <a:defRPr sz="1200" b="0" i="0" baseline="0">
                <a:solidFill>
                  <a:schemeClr val="tx1"/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note	</a:t>
            </a:r>
          </a:p>
        </p:txBody>
      </p:sp>
    </p:spTree>
    <p:extLst>
      <p:ext uri="{BB962C8B-B14F-4D97-AF65-F5344CB8AC3E}">
        <p14:creationId xmlns:p14="http://schemas.microsoft.com/office/powerpoint/2010/main" val="2203020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BD1BE82-AC96-478E-BB77-8D206E99C71F}" type="datetimeFigureOut">
              <a:rPr lang="th-TH" smtClean="0"/>
              <a:pPr>
                <a:defRPr/>
              </a:pPr>
              <a:t>02/04/58</a:t>
            </a:fld>
            <a:endParaRPr lang="th-T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B048F62-1888-4AB7-BC54-FC4CD1EE11F5}" type="slidenum">
              <a:rPr lang="en-US" altLang="th-TH" smtClean="0"/>
              <a:pPr>
                <a:defRPr/>
              </a:pPr>
              <a:t>‹#›</a:t>
            </a:fld>
            <a:endParaRPr lang="th-TH" altLang="th-TH"/>
          </a:p>
        </p:txBody>
      </p:sp>
    </p:spTree>
    <p:extLst>
      <p:ext uri="{BB962C8B-B14F-4D97-AF65-F5344CB8AC3E}">
        <p14:creationId xmlns:p14="http://schemas.microsoft.com/office/powerpoint/2010/main" val="1594988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0927" y="404664"/>
            <a:ext cx="7749366" cy="504056"/>
          </a:xfrm>
        </p:spPr>
        <p:txBody>
          <a:bodyPr/>
          <a:lstStyle>
            <a:lvl1pPr>
              <a:lnSpc>
                <a:spcPct val="75000"/>
              </a:lnSpc>
              <a:defRPr sz="2400">
                <a:latin typeface="Browallia New" pitchFamily="34" charset="-34"/>
                <a:ea typeface="Tahoma" pitchFamily="34" charset="0"/>
                <a:cs typeface="Browallia New" pitchFamily="34" charset="-34"/>
                <a:sym typeface="Cordia Ne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h-TH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379" y="6518280"/>
            <a:ext cx="1884485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437B2-E4A0-408A-A685-4D4BA5E18955}" type="slidenum">
              <a:rPr lang="en-US" smtClean="0"/>
              <a:pPr>
                <a:defRPr/>
              </a:pPr>
              <a:t>‹#›</a:t>
            </a:fld>
            <a:endParaRPr lang="th-TH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9652" y="22043"/>
            <a:ext cx="6782291" cy="254957"/>
          </a:xfrm>
        </p:spPr>
        <p:txBody>
          <a:bodyPr/>
          <a:lstStyle>
            <a:lvl1pPr marL="0" indent="0">
              <a:lnSpc>
                <a:spcPct val="75000"/>
              </a:lnSpc>
              <a:buNone/>
              <a:defRPr sz="1800" b="1" i="1">
                <a:solidFill>
                  <a:schemeClr val="bg1">
                    <a:lumMod val="50000"/>
                  </a:schemeClr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3418582" y="6388100"/>
            <a:ext cx="3256977" cy="302468"/>
          </a:xfrm>
        </p:spPr>
        <p:txBody>
          <a:bodyPr/>
          <a:lstStyle>
            <a:lvl1pPr marL="0" indent="0" defTabSz="363538">
              <a:buNone/>
              <a:tabLst>
                <a:tab pos="363538" algn="l"/>
              </a:tabLst>
              <a:defRPr sz="1200" b="0" i="0" baseline="0">
                <a:solidFill>
                  <a:schemeClr val="tx1"/>
                </a:solidFill>
                <a:latin typeface="Browallia New" pitchFamily="34" charset="-34"/>
                <a:cs typeface="Browallia New" pitchFamily="34" charset="-34"/>
              </a:defRPr>
            </a:lvl1pPr>
          </a:lstStyle>
          <a:p>
            <a:pPr lvl="0"/>
            <a:r>
              <a:rPr lang="en-US" dirty="0" smtClean="0"/>
              <a:t>note	</a:t>
            </a:r>
          </a:p>
        </p:txBody>
      </p:sp>
    </p:spTree>
    <p:extLst>
      <p:ext uri="{BB962C8B-B14F-4D97-AF65-F5344CB8AC3E}">
        <p14:creationId xmlns:p14="http://schemas.microsoft.com/office/powerpoint/2010/main" val="1421729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609600"/>
          </a:xfrm>
        </p:spPr>
        <p:txBody>
          <a:bodyPr anchor="b"/>
          <a:lstStyle>
            <a:lvl1pPr algn="l">
              <a:defRPr sz="2400"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/>
          <a:lstStyle/>
          <a:p>
            <a:fld id="{1E066093-B123-48D3-B651-30F423969FB8}" type="datetimeFigureOut">
              <a:rPr lang="en-US" smtClean="0"/>
              <a:pPr/>
              <a:t>4/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DDC49-1280-4BBA-8557-14D519BD7C5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685800"/>
            <a:ext cx="8229600" cy="0"/>
          </a:xfrm>
          <a:prstGeom prst="line">
            <a:avLst/>
          </a:prstGeom>
          <a:ln w="76200" cmpd="thinThick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9721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le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th-TH" kern="1200" baseline="0" dirty="0"/>
            </a:lvl1pPr>
          </a:lstStyle>
          <a:p>
            <a:pPr lvl="0"/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7" name="Slide Number Placeholder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028384" y="6456072"/>
            <a:ext cx="465282" cy="339725"/>
          </a:xfrm>
          <a:prstGeom prst="rect">
            <a:avLst/>
          </a:prstGeom>
        </p:spPr>
        <p:txBody>
          <a:bodyPr anchor="ctr"/>
          <a:lstStyle>
            <a:lvl1pPr algn="ctr">
              <a:defRPr sz="1108" b="0" baseline="0">
                <a:solidFill>
                  <a:srgbClr val="002060"/>
                </a:solidFill>
              </a:defRPr>
            </a:lvl1pPr>
          </a:lstStyle>
          <a:p>
            <a:pPr>
              <a:defRPr/>
            </a:pPr>
            <a:fld id="{B94437B2-E4A0-408A-A685-4D4BA5E18955}" type="slidenum">
              <a:rPr lang="en-US" smtClean="0"/>
              <a:pPr>
                <a:defRPr/>
              </a:pPr>
              <a:t>‹#›</a:t>
            </a:fld>
            <a:endParaRPr lang="th-TH" dirty="0"/>
          </a:p>
        </p:txBody>
      </p:sp>
    </p:spTree>
    <p:extLst>
      <p:ext uri="{BB962C8B-B14F-4D97-AF65-F5344CB8AC3E}">
        <p14:creationId xmlns:p14="http://schemas.microsoft.com/office/powerpoint/2010/main" val="1650639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oleObject" Target="../embeddings/oleObject1.bin"/><Relationship Id="rId28" Type="http://schemas.openxmlformats.org/officeDocument/2006/relationships/image" Target="../media/image5.jpeg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3" Type="http://schemas.openxmlformats.org/officeDocument/2006/relationships/slideLayout" Target="../slideLayouts/slideLayout12.xml"/><Relationship Id="rId21" Type="http://schemas.openxmlformats.org/officeDocument/2006/relationships/image" Target="../media/image2.emf"/><Relationship Id="rId7" Type="http://schemas.openxmlformats.org/officeDocument/2006/relationships/vmlDrawing" Target="../drawings/vmlDrawing7.v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5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2.xml"/><Relationship Id="rId11" Type="http://schemas.openxmlformats.org/officeDocument/2006/relationships/tags" Target="../tags/tag52.xml"/><Relationship Id="rId24" Type="http://schemas.openxmlformats.org/officeDocument/2006/relationships/image" Target="../media/image5.jpeg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56.xml"/><Relationship Id="rId23" Type="http://schemas.openxmlformats.org/officeDocument/2006/relationships/image" Target="../media/image4.jpeg"/><Relationship Id="rId10" Type="http://schemas.openxmlformats.org/officeDocument/2006/relationships/tags" Target="../tags/tag51.xml"/><Relationship Id="rId19" Type="http://schemas.openxmlformats.org/officeDocument/2006/relationships/oleObject" Target="../embeddings/oleObject7.bin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2.emf"/><Relationship Id="rId7" Type="http://schemas.openxmlformats.org/officeDocument/2006/relationships/vmlDrawing" Target="../drawings/vmlDrawing13.v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10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11" Type="http://schemas.openxmlformats.org/officeDocument/2006/relationships/tags" Target="../tags/tag97.xml"/><Relationship Id="rId24" Type="http://schemas.openxmlformats.org/officeDocument/2006/relationships/image" Target="../media/image5.jpeg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101.xml"/><Relationship Id="rId23" Type="http://schemas.openxmlformats.org/officeDocument/2006/relationships/image" Target="../media/image4.jpeg"/><Relationship Id="rId10" Type="http://schemas.openxmlformats.org/officeDocument/2006/relationships/tags" Target="../tags/tag96.xml"/><Relationship Id="rId19" Type="http://schemas.openxmlformats.org/officeDocument/2006/relationships/oleObject" Target="../embeddings/oleObject13.bin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95.xml"/><Relationship Id="rId14" Type="http://schemas.openxmlformats.org/officeDocument/2006/relationships/tags" Target="../tags/tag100.xml"/><Relationship Id="rId22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tags" Target="../tags/tag144.xml"/><Relationship Id="rId18" Type="http://schemas.openxmlformats.org/officeDocument/2006/relationships/tags" Target="../tags/tag149.xml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2.emf"/><Relationship Id="rId7" Type="http://schemas.openxmlformats.org/officeDocument/2006/relationships/vmlDrawing" Target="../drawings/vmlDrawing19.vml"/><Relationship Id="rId12" Type="http://schemas.openxmlformats.org/officeDocument/2006/relationships/tags" Target="../tags/tag143.xml"/><Relationship Id="rId17" Type="http://schemas.openxmlformats.org/officeDocument/2006/relationships/tags" Target="../tags/tag148.xml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14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4.xml"/><Relationship Id="rId11" Type="http://schemas.openxmlformats.org/officeDocument/2006/relationships/tags" Target="../tags/tag142.xml"/><Relationship Id="rId24" Type="http://schemas.openxmlformats.org/officeDocument/2006/relationships/image" Target="../media/image5.jpeg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146.xml"/><Relationship Id="rId23" Type="http://schemas.openxmlformats.org/officeDocument/2006/relationships/image" Target="../media/image4.jpeg"/><Relationship Id="rId10" Type="http://schemas.openxmlformats.org/officeDocument/2006/relationships/tags" Target="../tags/tag141.xml"/><Relationship Id="rId19" Type="http://schemas.openxmlformats.org/officeDocument/2006/relationships/oleObject" Target="../embeddings/oleObject19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140.xml"/><Relationship Id="rId14" Type="http://schemas.openxmlformats.org/officeDocument/2006/relationships/tags" Target="../tags/tag145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5226222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243"/>
                      <p:cNvPicPr>
                        <a:picLocks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476250" y="274638"/>
            <a:ext cx="7216321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423501" y="1193808"/>
            <a:ext cx="7806103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5"/>
            </p:custDataLst>
          </p:nvPr>
        </p:nvSpPr>
        <p:spPr bwMode="auto">
          <a:xfrm>
            <a:off x="6884379" y="6518374"/>
            <a:ext cx="178483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47FC294-D80E-4F6E-8AC1-34B637356D0C}" type="slidenum">
              <a:rPr lang="en-US" b="1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th-TH" b="1">
              <a:solidFill>
                <a:prstClr val="black"/>
              </a:solidFill>
            </a:endParaRPr>
          </a:p>
        </p:txBody>
      </p:sp>
      <p:sp>
        <p:nvSpPr>
          <p:cNvPr id="1029" name="Line 9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436685" y="960438"/>
            <a:ext cx="8229600" cy="0"/>
          </a:xfrm>
          <a:prstGeom prst="line">
            <a:avLst/>
          </a:prstGeom>
          <a:noFill/>
          <a:ln w="19050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032" name="Text Box 16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0" y="29"/>
            <a:ext cx="250873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l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white">
                    <a:lumMod val="75000"/>
                  </a:prstClr>
                </a:solidFill>
                <a:latin typeface="Cordia New"/>
                <a:cs typeface="Cordia New"/>
                <a:sym typeface="Cordia New"/>
              </a:rPr>
              <a:t>STRICTLY PRIVATE &amp; CONFIDENTIAL</a:t>
            </a:r>
          </a:p>
        </p:txBody>
      </p:sp>
      <p:sp>
        <p:nvSpPr>
          <p:cNvPr id="1031" name="Rectangle 22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991606" y="977900"/>
            <a:ext cx="165589" cy="711200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pic>
        <p:nvPicPr>
          <p:cNvPr id="2" name="Picture 26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6417336"/>
            <a:ext cx="733244" cy="333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Line 9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439615" y="6319838"/>
            <a:ext cx="8229600" cy="0"/>
          </a:xfrm>
          <a:prstGeom prst="line">
            <a:avLst/>
          </a:prstGeom>
          <a:noFill/>
          <a:ln w="19050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pic>
        <p:nvPicPr>
          <p:cNvPr id="10" name="D2D73B51-7D85-49D5-BEB9-F2B429240C07" descr="D2D73B51-7D85-49D5-BEB9-F2B429240C07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836"/>
          <a:stretch/>
        </p:blipFill>
        <p:spPr bwMode="auto">
          <a:xfrm>
            <a:off x="1659170" y="6389419"/>
            <a:ext cx="418234" cy="39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D:\Documents\PSK\Administration\logo and header\header en 5 cm.jpg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035"/>
          <a:stretch/>
        </p:blipFill>
        <p:spPr bwMode="auto">
          <a:xfrm>
            <a:off x="1119118" y="6381328"/>
            <a:ext cx="455945" cy="400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4"/>
          <p:cNvPicPr>
            <a:picLocks noChangeAspect="1" noChangeArrowheads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983"/>
          <a:stretch/>
        </p:blipFill>
        <p:spPr bwMode="auto">
          <a:xfrm>
            <a:off x="6931415" y="880"/>
            <a:ext cx="2249097" cy="619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62641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effectLst/>
          <a:latin typeface="Cordia New"/>
          <a:ea typeface="+mj-ea"/>
          <a:cs typeface="Cordia New"/>
          <a:sym typeface="Cordia New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lr>
          <a:srgbClr val="0000A4"/>
        </a:buClr>
        <a:buFont typeface="Wingdings 3" pitchFamily="18" charset="2"/>
        <a:buChar char="}"/>
        <a:defRPr sz="1200">
          <a:solidFill>
            <a:schemeClr val="tx1"/>
          </a:solidFill>
          <a:latin typeface="Cordia New"/>
          <a:ea typeface="+mn-ea"/>
          <a:cs typeface="Cordia New"/>
          <a:sym typeface="Cordia New"/>
        </a:defRPr>
      </a:lvl1pPr>
      <a:lvl2pPr marL="742950" indent="-28575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lr>
          <a:srgbClr val="0000A4"/>
        </a:buClr>
        <a:buFont typeface="Wingdings" pitchFamily="2" charset="2"/>
        <a:buChar char="§"/>
        <a:defRPr sz="1200">
          <a:solidFill>
            <a:schemeClr val="tx1"/>
          </a:solidFill>
          <a:latin typeface="Cordia New"/>
          <a:cs typeface="Cordia New"/>
          <a:sym typeface="Cordia New"/>
        </a:defRPr>
      </a:lvl2pPr>
      <a:lvl3pPr marL="11430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lr>
          <a:srgbClr val="3333FF"/>
        </a:buClr>
        <a:buSzPct val="70000"/>
        <a:buFont typeface="Wingdings" pitchFamily="2" charset="2"/>
        <a:buChar char="Ø"/>
        <a:defRPr sz="1200">
          <a:solidFill>
            <a:schemeClr val="tx1"/>
          </a:solidFill>
          <a:latin typeface="Cordia New"/>
          <a:cs typeface="Cordia New"/>
          <a:sym typeface="Cordia New"/>
        </a:defRPr>
      </a:lvl3pPr>
      <a:lvl4pPr marL="16002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–"/>
        <a:defRPr sz="1200">
          <a:solidFill>
            <a:schemeClr val="tx1"/>
          </a:solidFill>
          <a:latin typeface="Cordia New"/>
          <a:cs typeface="Cordia New"/>
          <a:sym typeface="Cordia New"/>
        </a:defRPr>
      </a:lvl4pPr>
      <a:lvl5pPr marL="20574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200">
          <a:solidFill>
            <a:schemeClr val="tx1"/>
          </a:solidFill>
          <a:latin typeface="Cordia New"/>
          <a:cs typeface="Cordia New"/>
          <a:sym typeface="Cordia New"/>
        </a:defRPr>
      </a:lvl5pPr>
      <a:lvl6pPr marL="25146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0388382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4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17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476250" y="274638"/>
            <a:ext cx="7216321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423501" y="1193808"/>
            <a:ext cx="7806103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1"/>
            </p:custDataLst>
          </p:nvPr>
        </p:nvSpPr>
        <p:spPr bwMode="auto">
          <a:xfrm>
            <a:off x="6884379" y="6518374"/>
            <a:ext cx="178483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47FC294-D80E-4F6E-8AC1-34B637356D0C}" type="slidenum">
              <a:rPr lang="en-US" b="1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th-TH" b="1">
              <a:solidFill>
                <a:prstClr val="black"/>
              </a:solidFill>
            </a:endParaRPr>
          </a:p>
        </p:txBody>
      </p:sp>
      <p:sp>
        <p:nvSpPr>
          <p:cNvPr id="1029" name="Line 9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436685" y="960438"/>
            <a:ext cx="8229600" cy="0"/>
          </a:xfrm>
          <a:prstGeom prst="line">
            <a:avLst/>
          </a:prstGeom>
          <a:noFill/>
          <a:ln w="19050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032" name="Text Box 16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0" y="29"/>
            <a:ext cx="250873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white">
                    <a:lumMod val="75000"/>
                  </a:prstClr>
                </a:solidFill>
                <a:latin typeface="Cordia New"/>
                <a:cs typeface="Cordia New"/>
                <a:sym typeface="Cordia New"/>
              </a:rPr>
              <a:t>STRICTLY PRIVATE &amp; CONFIDENTIAL1</a:t>
            </a:r>
          </a:p>
        </p:txBody>
      </p:sp>
      <p:sp>
        <p:nvSpPr>
          <p:cNvPr id="1031" name="Rectangle 2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991606" y="977900"/>
            <a:ext cx="165589" cy="711200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pic>
        <p:nvPicPr>
          <p:cNvPr id="2" name="Picture 26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6417336"/>
            <a:ext cx="733244" cy="333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Line 9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439615" y="6319838"/>
            <a:ext cx="8229600" cy="0"/>
          </a:xfrm>
          <a:prstGeom prst="line">
            <a:avLst/>
          </a:prstGeom>
          <a:noFill/>
          <a:ln w="19050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pic>
        <p:nvPicPr>
          <p:cNvPr id="10" name="D2D73B51-7D85-49D5-BEB9-F2B429240C07" descr="D2D73B51-7D85-49D5-BEB9-F2B429240C07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836"/>
          <a:stretch/>
        </p:blipFill>
        <p:spPr bwMode="auto">
          <a:xfrm>
            <a:off x="1659170" y="6389419"/>
            <a:ext cx="418234" cy="39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D:\Documents\PSK\Administration\logo and header\header en 5 cm.jp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035"/>
          <a:stretch/>
        </p:blipFill>
        <p:spPr bwMode="auto">
          <a:xfrm>
            <a:off x="1119118" y="6381328"/>
            <a:ext cx="455945" cy="400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4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983"/>
          <a:stretch/>
        </p:blipFill>
        <p:spPr bwMode="auto">
          <a:xfrm>
            <a:off x="6931415" y="880"/>
            <a:ext cx="2249097" cy="619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7546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effectLst/>
          <a:latin typeface="Cordia New"/>
          <a:ea typeface="+mj-ea"/>
          <a:cs typeface="Cordia New"/>
          <a:sym typeface="Cordia New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lr>
          <a:srgbClr val="0000A4"/>
        </a:buClr>
        <a:buFont typeface="Wingdings 3" pitchFamily="18" charset="2"/>
        <a:buChar char="}"/>
        <a:defRPr sz="1200">
          <a:solidFill>
            <a:schemeClr val="tx1"/>
          </a:solidFill>
          <a:latin typeface="Cordia New"/>
          <a:ea typeface="+mn-ea"/>
          <a:cs typeface="Cordia New"/>
          <a:sym typeface="Cordia New"/>
        </a:defRPr>
      </a:lvl1pPr>
      <a:lvl2pPr marL="742950" indent="-28575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lr>
          <a:srgbClr val="0000A4"/>
        </a:buClr>
        <a:buFont typeface="Wingdings" pitchFamily="2" charset="2"/>
        <a:buChar char="§"/>
        <a:defRPr sz="1200">
          <a:solidFill>
            <a:schemeClr val="tx1"/>
          </a:solidFill>
          <a:latin typeface="Cordia New"/>
          <a:cs typeface="Cordia New"/>
          <a:sym typeface="Cordia New"/>
        </a:defRPr>
      </a:lvl2pPr>
      <a:lvl3pPr marL="11430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lr>
          <a:srgbClr val="3333FF"/>
        </a:buClr>
        <a:buSzPct val="70000"/>
        <a:buFont typeface="Wingdings" pitchFamily="2" charset="2"/>
        <a:buChar char="Ø"/>
        <a:defRPr sz="1200">
          <a:solidFill>
            <a:schemeClr val="tx1"/>
          </a:solidFill>
          <a:latin typeface="Cordia New"/>
          <a:cs typeface="Cordia New"/>
          <a:sym typeface="Cordia New"/>
        </a:defRPr>
      </a:lvl3pPr>
      <a:lvl4pPr marL="16002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–"/>
        <a:defRPr sz="1200">
          <a:solidFill>
            <a:schemeClr val="tx1"/>
          </a:solidFill>
          <a:latin typeface="Cordia New"/>
          <a:cs typeface="Cordia New"/>
          <a:sym typeface="Cordia New"/>
        </a:defRPr>
      </a:lvl4pPr>
      <a:lvl5pPr marL="20574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200">
          <a:solidFill>
            <a:schemeClr val="tx1"/>
          </a:solidFill>
          <a:latin typeface="Cordia New"/>
          <a:cs typeface="Cordia New"/>
          <a:sym typeface="Cordia New"/>
        </a:defRPr>
      </a:lvl5pPr>
      <a:lvl6pPr marL="25146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05375393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8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13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476250" y="274638"/>
            <a:ext cx="7216321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423501" y="1193808"/>
            <a:ext cx="7806103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1"/>
            </p:custDataLst>
          </p:nvPr>
        </p:nvSpPr>
        <p:spPr bwMode="auto">
          <a:xfrm>
            <a:off x="6884379" y="6518374"/>
            <a:ext cx="178483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47FC294-D80E-4F6E-8AC1-34B637356D0C}" type="slidenum">
              <a:rPr lang="en-US" b="1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th-TH" b="1">
              <a:solidFill>
                <a:prstClr val="black"/>
              </a:solidFill>
            </a:endParaRPr>
          </a:p>
        </p:txBody>
      </p:sp>
      <p:sp>
        <p:nvSpPr>
          <p:cNvPr id="1029" name="Line 9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436685" y="960438"/>
            <a:ext cx="8229600" cy="0"/>
          </a:xfrm>
          <a:prstGeom prst="line">
            <a:avLst/>
          </a:prstGeom>
          <a:noFill/>
          <a:ln w="19050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032" name="Text Box 16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0" y="29"/>
            <a:ext cx="250873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white">
                    <a:lumMod val="75000"/>
                  </a:prstClr>
                </a:solidFill>
                <a:latin typeface="Cordia New"/>
                <a:cs typeface="Cordia New"/>
                <a:sym typeface="Cordia New"/>
              </a:rPr>
              <a:t>STRICTLY PRIVATE &amp; CONFIDENTIAL1</a:t>
            </a:r>
          </a:p>
        </p:txBody>
      </p:sp>
      <p:sp>
        <p:nvSpPr>
          <p:cNvPr id="1031" name="Rectangle 2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991606" y="977900"/>
            <a:ext cx="165589" cy="711200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pic>
        <p:nvPicPr>
          <p:cNvPr id="2" name="Picture 26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6417336"/>
            <a:ext cx="733244" cy="333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Line 9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439615" y="6319838"/>
            <a:ext cx="8229600" cy="0"/>
          </a:xfrm>
          <a:prstGeom prst="line">
            <a:avLst/>
          </a:prstGeom>
          <a:noFill/>
          <a:ln w="19050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pic>
        <p:nvPicPr>
          <p:cNvPr id="10" name="D2D73B51-7D85-49D5-BEB9-F2B429240C07" descr="D2D73B51-7D85-49D5-BEB9-F2B429240C07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836"/>
          <a:stretch/>
        </p:blipFill>
        <p:spPr bwMode="auto">
          <a:xfrm>
            <a:off x="1659170" y="6389419"/>
            <a:ext cx="418234" cy="39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D:\Documents\PSK\Administration\logo and header\header en 5 cm.jp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035"/>
          <a:stretch/>
        </p:blipFill>
        <p:spPr bwMode="auto">
          <a:xfrm>
            <a:off x="1119118" y="6381328"/>
            <a:ext cx="455945" cy="400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4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983"/>
          <a:stretch/>
        </p:blipFill>
        <p:spPr bwMode="auto">
          <a:xfrm>
            <a:off x="6931415" y="880"/>
            <a:ext cx="2249097" cy="619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5234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effectLst/>
          <a:latin typeface="Cordia New"/>
          <a:ea typeface="+mj-ea"/>
          <a:cs typeface="Cordia New"/>
          <a:sym typeface="Cordia New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lr>
          <a:srgbClr val="0000A4"/>
        </a:buClr>
        <a:buFont typeface="Wingdings 3" pitchFamily="18" charset="2"/>
        <a:buChar char="}"/>
        <a:defRPr sz="1200">
          <a:solidFill>
            <a:schemeClr val="tx1"/>
          </a:solidFill>
          <a:latin typeface="Cordia New"/>
          <a:ea typeface="+mn-ea"/>
          <a:cs typeface="Cordia New"/>
          <a:sym typeface="Cordia New"/>
        </a:defRPr>
      </a:lvl1pPr>
      <a:lvl2pPr marL="742950" indent="-28575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lr>
          <a:srgbClr val="0000A4"/>
        </a:buClr>
        <a:buFont typeface="Wingdings" pitchFamily="2" charset="2"/>
        <a:buChar char="§"/>
        <a:defRPr sz="1200">
          <a:solidFill>
            <a:schemeClr val="tx1"/>
          </a:solidFill>
          <a:latin typeface="Cordia New"/>
          <a:cs typeface="Cordia New"/>
          <a:sym typeface="Cordia New"/>
        </a:defRPr>
      </a:lvl2pPr>
      <a:lvl3pPr marL="11430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lr>
          <a:srgbClr val="3333FF"/>
        </a:buClr>
        <a:buSzPct val="70000"/>
        <a:buFont typeface="Wingdings" pitchFamily="2" charset="2"/>
        <a:buChar char="Ø"/>
        <a:defRPr sz="1200">
          <a:solidFill>
            <a:schemeClr val="tx1"/>
          </a:solidFill>
          <a:latin typeface="Cordia New"/>
          <a:cs typeface="Cordia New"/>
          <a:sym typeface="Cordia New"/>
        </a:defRPr>
      </a:lvl3pPr>
      <a:lvl4pPr marL="16002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–"/>
        <a:defRPr sz="1200">
          <a:solidFill>
            <a:schemeClr val="tx1"/>
          </a:solidFill>
          <a:latin typeface="Cordia New"/>
          <a:cs typeface="Cordia New"/>
          <a:sym typeface="Cordia New"/>
        </a:defRPr>
      </a:lvl4pPr>
      <a:lvl5pPr marL="20574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200">
          <a:solidFill>
            <a:schemeClr val="tx1"/>
          </a:solidFill>
          <a:latin typeface="Cordia New"/>
          <a:cs typeface="Cordia New"/>
          <a:sym typeface="Cordia New"/>
        </a:defRPr>
      </a:lvl5pPr>
      <a:lvl6pPr marL="25146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35211834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7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476250" y="274638"/>
            <a:ext cx="7216321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423501" y="1193808"/>
            <a:ext cx="7806103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1"/>
            </p:custDataLst>
          </p:nvPr>
        </p:nvSpPr>
        <p:spPr bwMode="auto">
          <a:xfrm>
            <a:off x="6884379" y="6518374"/>
            <a:ext cx="178483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latin typeface="Cordia New"/>
                <a:cs typeface="Cordia New"/>
                <a:sym typeface="Cordia New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47FC294-D80E-4F6E-8AC1-34B637356D0C}" type="slidenum">
              <a:rPr lang="en-US" b="1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th-TH" b="1">
              <a:solidFill>
                <a:prstClr val="black"/>
              </a:solidFill>
            </a:endParaRPr>
          </a:p>
        </p:txBody>
      </p:sp>
      <p:sp>
        <p:nvSpPr>
          <p:cNvPr id="1029" name="Line 9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436685" y="960438"/>
            <a:ext cx="8229600" cy="0"/>
          </a:xfrm>
          <a:prstGeom prst="line">
            <a:avLst/>
          </a:prstGeom>
          <a:noFill/>
          <a:ln w="19050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032" name="Text Box 16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0" y="29"/>
            <a:ext cx="250873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900" i="1" dirty="0" smtClean="0">
                <a:solidFill>
                  <a:prstClr val="white">
                    <a:lumMod val="75000"/>
                  </a:prstClr>
                </a:solidFill>
                <a:latin typeface="Cordia New"/>
                <a:cs typeface="Cordia New"/>
                <a:sym typeface="Cordia New"/>
              </a:rPr>
              <a:t>STRICTLY PRIVATE &amp; CONFIDENTIAL1</a:t>
            </a:r>
          </a:p>
        </p:txBody>
      </p:sp>
      <p:sp>
        <p:nvSpPr>
          <p:cNvPr id="1031" name="Rectangle 2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991606" y="977900"/>
            <a:ext cx="165589" cy="711200"/>
          </a:xfrm>
          <a:prstGeom prst="rect">
            <a:avLst/>
          </a:prstGeom>
          <a:solidFill>
            <a:srgbClr val="33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pic>
        <p:nvPicPr>
          <p:cNvPr id="2" name="Picture 26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6417336"/>
            <a:ext cx="733244" cy="333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Line 9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439615" y="6319838"/>
            <a:ext cx="8229600" cy="0"/>
          </a:xfrm>
          <a:prstGeom prst="line">
            <a:avLst/>
          </a:prstGeom>
          <a:noFill/>
          <a:ln w="19050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pic>
        <p:nvPicPr>
          <p:cNvPr id="10" name="D2D73B51-7D85-49D5-BEB9-F2B429240C07" descr="D2D73B51-7D85-49D5-BEB9-F2B429240C07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836"/>
          <a:stretch/>
        </p:blipFill>
        <p:spPr bwMode="auto">
          <a:xfrm>
            <a:off x="1659170" y="6389419"/>
            <a:ext cx="418234" cy="39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D:\Documents\PSK\Administration\logo and header\header en 5 cm.jp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035"/>
          <a:stretch/>
        </p:blipFill>
        <p:spPr bwMode="auto">
          <a:xfrm>
            <a:off x="1119118" y="6381328"/>
            <a:ext cx="455945" cy="400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4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983"/>
          <a:stretch/>
        </p:blipFill>
        <p:spPr bwMode="auto">
          <a:xfrm>
            <a:off x="6931415" y="880"/>
            <a:ext cx="2249097" cy="619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67640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effectLst/>
          <a:latin typeface="Cordia New"/>
          <a:ea typeface="+mj-ea"/>
          <a:cs typeface="Cordia New"/>
          <a:sym typeface="Cordia New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Tahoma" pitchFamily="34" charset="0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lr>
          <a:srgbClr val="0000A4"/>
        </a:buClr>
        <a:buFont typeface="Wingdings 3" pitchFamily="18" charset="2"/>
        <a:buChar char="}"/>
        <a:defRPr sz="1200">
          <a:solidFill>
            <a:schemeClr val="tx1"/>
          </a:solidFill>
          <a:latin typeface="Cordia New"/>
          <a:ea typeface="+mn-ea"/>
          <a:cs typeface="Cordia New"/>
          <a:sym typeface="Cordia New"/>
        </a:defRPr>
      </a:lvl1pPr>
      <a:lvl2pPr marL="742950" indent="-28575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lr>
          <a:srgbClr val="0000A4"/>
        </a:buClr>
        <a:buFont typeface="Wingdings" pitchFamily="2" charset="2"/>
        <a:buChar char="§"/>
        <a:defRPr sz="1200">
          <a:solidFill>
            <a:schemeClr val="tx1"/>
          </a:solidFill>
          <a:latin typeface="Cordia New"/>
          <a:cs typeface="Cordia New"/>
          <a:sym typeface="Cordia New"/>
        </a:defRPr>
      </a:lvl2pPr>
      <a:lvl3pPr marL="11430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lr>
          <a:srgbClr val="3333FF"/>
        </a:buClr>
        <a:buSzPct val="70000"/>
        <a:buFont typeface="Wingdings" pitchFamily="2" charset="2"/>
        <a:buChar char="Ø"/>
        <a:defRPr sz="1200">
          <a:solidFill>
            <a:schemeClr val="tx1"/>
          </a:solidFill>
          <a:latin typeface="Cordia New"/>
          <a:cs typeface="Cordia New"/>
          <a:sym typeface="Cordia New"/>
        </a:defRPr>
      </a:lvl3pPr>
      <a:lvl4pPr marL="16002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–"/>
        <a:defRPr sz="1200">
          <a:solidFill>
            <a:schemeClr val="tx1"/>
          </a:solidFill>
          <a:latin typeface="Cordia New"/>
          <a:cs typeface="Cordia New"/>
          <a:sym typeface="Cordia New"/>
        </a:defRPr>
      </a:lvl4pPr>
      <a:lvl5pPr marL="20574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200">
          <a:solidFill>
            <a:schemeClr val="tx1"/>
          </a:solidFill>
          <a:latin typeface="Cordia New"/>
          <a:cs typeface="Cordia New"/>
          <a:sym typeface="Cordia New"/>
        </a:defRPr>
      </a:lvl5pPr>
      <a:lvl6pPr marL="25146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110000"/>
        </a:lnSpc>
        <a:spcBef>
          <a:spcPct val="25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oleObject" Target="../embeddings/oleObject25.bin"/><Relationship Id="rId18" Type="http://schemas.openxmlformats.org/officeDocument/2006/relationships/image" Target="../media/image7.jpeg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3.png"/><Relationship Id="rId2" Type="http://schemas.openxmlformats.org/officeDocument/2006/relationships/tags" Target="../tags/tag184.xml"/><Relationship Id="rId16" Type="http://schemas.openxmlformats.org/officeDocument/2006/relationships/image" Target="../media/image2.emf"/><Relationship Id="rId1" Type="http://schemas.openxmlformats.org/officeDocument/2006/relationships/vmlDrawing" Target="../drawings/vmlDrawing25.vml"/><Relationship Id="rId6" Type="http://schemas.openxmlformats.org/officeDocument/2006/relationships/tags" Target="../tags/tag188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87.xml"/><Relationship Id="rId15" Type="http://schemas.openxmlformats.org/officeDocument/2006/relationships/image" Target="../media/image6.jpeg"/><Relationship Id="rId10" Type="http://schemas.openxmlformats.org/officeDocument/2006/relationships/tags" Target="../tags/tag192.xml"/><Relationship Id="rId19" Type="http://schemas.openxmlformats.org/officeDocument/2006/relationships/image" Target="../media/image8.jpeg"/><Relationship Id="rId4" Type="http://schemas.openxmlformats.org/officeDocument/2006/relationships/tags" Target="../tags/tag186.xml"/><Relationship Id="rId9" Type="http://schemas.openxmlformats.org/officeDocument/2006/relationships/tags" Target="../tags/tag191.xml"/><Relationship Id="rId1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849.xml"/><Relationship Id="rId18" Type="http://schemas.openxmlformats.org/officeDocument/2006/relationships/tags" Target="../tags/tag854.xml"/><Relationship Id="rId26" Type="http://schemas.openxmlformats.org/officeDocument/2006/relationships/tags" Target="../tags/tag862.xml"/><Relationship Id="rId39" Type="http://schemas.openxmlformats.org/officeDocument/2006/relationships/tags" Target="../tags/tag875.xml"/><Relationship Id="rId21" Type="http://schemas.openxmlformats.org/officeDocument/2006/relationships/tags" Target="../tags/tag857.xml"/><Relationship Id="rId34" Type="http://schemas.openxmlformats.org/officeDocument/2006/relationships/tags" Target="../tags/tag870.xml"/><Relationship Id="rId42" Type="http://schemas.openxmlformats.org/officeDocument/2006/relationships/tags" Target="../tags/tag878.xml"/><Relationship Id="rId47" Type="http://schemas.openxmlformats.org/officeDocument/2006/relationships/tags" Target="../tags/tag883.xml"/><Relationship Id="rId50" Type="http://schemas.openxmlformats.org/officeDocument/2006/relationships/tags" Target="../tags/tag886.xml"/><Relationship Id="rId55" Type="http://schemas.openxmlformats.org/officeDocument/2006/relationships/tags" Target="../tags/tag891.xml"/><Relationship Id="rId7" Type="http://schemas.openxmlformats.org/officeDocument/2006/relationships/tags" Target="../tags/tag843.xml"/><Relationship Id="rId12" Type="http://schemas.openxmlformats.org/officeDocument/2006/relationships/tags" Target="../tags/tag848.xml"/><Relationship Id="rId17" Type="http://schemas.openxmlformats.org/officeDocument/2006/relationships/tags" Target="../tags/tag853.xml"/><Relationship Id="rId25" Type="http://schemas.openxmlformats.org/officeDocument/2006/relationships/tags" Target="../tags/tag861.xml"/><Relationship Id="rId33" Type="http://schemas.openxmlformats.org/officeDocument/2006/relationships/tags" Target="../tags/tag869.xml"/><Relationship Id="rId38" Type="http://schemas.openxmlformats.org/officeDocument/2006/relationships/tags" Target="../tags/tag874.xml"/><Relationship Id="rId46" Type="http://schemas.openxmlformats.org/officeDocument/2006/relationships/tags" Target="../tags/tag882.xml"/><Relationship Id="rId59" Type="http://schemas.openxmlformats.org/officeDocument/2006/relationships/oleObject" Target="../embeddings/oleObject31.bin"/><Relationship Id="rId2" Type="http://schemas.openxmlformats.org/officeDocument/2006/relationships/tags" Target="../tags/tag838.xml"/><Relationship Id="rId16" Type="http://schemas.openxmlformats.org/officeDocument/2006/relationships/tags" Target="../tags/tag852.xml"/><Relationship Id="rId20" Type="http://schemas.openxmlformats.org/officeDocument/2006/relationships/tags" Target="../tags/tag856.xml"/><Relationship Id="rId29" Type="http://schemas.openxmlformats.org/officeDocument/2006/relationships/tags" Target="../tags/tag865.xml"/><Relationship Id="rId41" Type="http://schemas.openxmlformats.org/officeDocument/2006/relationships/tags" Target="../tags/tag877.xml"/><Relationship Id="rId54" Type="http://schemas.openxmlformats.org/officeDocument/2006/relationships/tags" Target="../tags/tag890.xml"/><Relationship Id="rId1" Type="http://schemas.openxmlformats.org/officeDocument/2006/relationships/vmlDrawing" Target="../drawings/vmlDrawing31.vml"/><Relationship Id="rId6" Type="http://schemas.openxmlformats.org/officeDocument/2006/relationships/tags" Target="../tags/tag842.xml"/><Relationship Id="rId11" Type="http://schemas.openxmlformats.org/officeDocument/2006/relationships/tags" Target="../tags/tag847.xml"/><Relationship Id="rId24" Type="http://schemas.openxmlformats.org/officeDocument/2006/relationships/tags" Target="../tags/tag860.xml"/><Relationship Id="rId32" Type="http://schemas.openxmlformats.org/officeDocument/2006/relationships/tags" Target="../tags/tag868.xml"/><Relationship Id="rId37" Type="http://schemas.openxmlformats.org/officeDocument/2006/relationships/tags" Target="../tags/tag873.xml"/><Relationship Id="rId40" Type="http://schemas.openxmlformats.org/officeDocument/2006/relationships/tags" Target="../tags/tag876.xml"/><Relationship Id="rId45" Type="http://schemas.openxmlformats.org/officeDocument/2006/relationships/tags" Target="../tags/tag881.xml"/><Relationship Id="rId53" Type="http://schemas.openxmlformats.org/officeDocument/2006/relationships/tags" Target="../tags/tag889.xml"/><Relationship Id="rId58" Type="http://schemas.openxmlformats.org/officeDocument/2006/relationships/slideLayout" Target="../slideLayouts/slideLayout22.xml"/><Relationship Id="rId5" Type="http://schemas.openxmlformats.org/officeDocument/2006/relationships/tags" Target="../tags/tag841.xml"/><Relationship Id="rId15" Type="http://schemas.openxmlformats.org/officeDocument/2006/relationships/tags" Target="../tags/tag851.xml"/><Relationship Id="rId23" Type="http://schemas.openxmlformats.org/officeDocument/2006/relationships/tags" Target="../tags/tag859.xml"/><Relationship Id="rId28" Type="http://schemas.openxmlformats.org/officeDocument/2006/relationships/tags" Target="../tags/tag864.xml"/><Relationship Id="rId36" Type="http://schemas.openxmlformats.org/officeDocument/2006/relationships/tags" Target="../tags/tag872.xml"/><Relationship Id="rId49" Type="http://schemas.openxmlformats.org/officeDocument/2006/relationships/tags" Target="../tags/tag885.xml"/><Relationship Id="rId57" Type="http://schemas.openxmlformats.org/officeDocument/2006/relationships/tags" Target="../tags/tag893.xml"/><Relationship Id="rId10" Type="http://schemas.openxmlformats.org/officeDocument/2006/relationships/tags" Target="../tags/tag846.xml"/><Relationship Id="rId19" Type="http://schemas.openxmlformats.org/officeDocument/2006/relationships/tags" Target="../tags/tag855.xml"/><Relationship Id="rId31" Type="http://schemas.openxmlformats.org/officeDocument/2006/relationships/tags" Target="../tags/tag867.xml"/><Relationship Id="rId44" Type="http://schemas.openxmlformats.org/officeDocument/2006/relationships/tags" Target="../tags/tag880.xml"/><Relationship Id="rId52" Type="http://schemas.openxmlformats.org/officeDocument/2006/relationships/tags" Target="../tags/tag888.xml"/><Relationship Id="rId60" Type="http://schemas.openxmlformats.org/officeDocument/2006/relationships/image" Target="../media/image75.emf"/><Relationship Id="rId4" Type="http://schemas.openxmlformats.org/officeDocument/2006/relationships/tags" Target="../tags/tag840.xml"/><Relationship Id="rId9" Type="http://schemas.openxmlformats.org/officeDocument/2006/relationships/tags" Target="../tags/tag845.xml"/><Relationship Id="rId14" Type="http://schemas.openxmlformats.org/officeDocument/2006/relationships/tags" Target="../tags/tag850.xml"/><Relationship Id="rId22" Type="http://schemas.openxmlformats.org/officeDocument/2006/relationships/tags" Target="../tags/tag858.xml"/><Relationship Id="rId27" Type="http://schemas.openxmlformats.org/officeDocument/2006/relationships/tags" Target="../tags/tag863.xml"/><Relationship Id="rId30" Type="http://schemas.openxmlformats.org/officeDocument/2006/relationships/tags" Target="../tags/tag866.xml"/><Relationship Id="rId35" Type="http://schemas.openxmlformats.org/officeDocument/2006/relationships/tags" Target="../tags/tag871.xml"/><Relationship Id="rId43" Type="http://schemas.openxmlformats.org/officeDocument/2006/relationships/tags" Target="../tags/tag879.xml"/><Relationship Id="rId48" Type="http://schemas.openxmlformats.org/officeDocument/2006/relationships/tags" Target="../tags/tag884.xml"/><Relationship Id="rId56" Type="http://schemas.openxmlformats.org/officeDocument/2006/relationships/tags" Target="../tags/tag892.xml"/><Relationship Id="rId8" Type="http://schemas.openxmlformats.org/officeDocument/2006/relationships/tags" Target="../tags/tag844.xml"/><Relationship Id="rId51" Type="http://schemas.openxmlformats.org/officeDocument/2006/relationships/tags" Target="../tags/tag887.xml"/><Relationship Id="rId3" Type="http://schemas.openxmlformats.org/officeDocument/2006/relationships/tags" Target="../tags/tag83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00.xml"/><Relationship Id="rId13" Type="http://schemas.openxmlformats.org/officeDocument/2006/relationships/tags" Target="../tags/tag905.xml"/><Relationship Id="rId18" Type="http://schemas.openxmlformats.org/officeDocument/2006/relationships/tags" Target="../tags/tag910.xml"/><Relationship Id="rId26" Type="http://schemas.openxmlformats.org/officeDocument/2006/relationships/oleObject" Target="../embeddings/oleObject32.bin"/><Relationship Id="rId39" Type="http://schemas.openxmlformats.org/officeDocument/2006/relationships/image" Target="../media/image115.jpeg"/><Relationship Id="rId3" Type="http://schemas.openxmlformats.org/officeDocument/2006/relationships/tags" Target="../tags/tag895.xml"/><Relationship Id="rId21" Type="http://schemas.openxmlformats.org/officeDocument/2006/relationships/tags" Target="../tags/tag913.xml"/><Relationship Id="rId34" Type="http://schemas.microsoft.com/office/2007/relationships/hdphoto" Target="../media/hdphoto10.wdp"/><Relationship Id="rId7" Type="http://schemas.openxmlformats.org/officeDocument/2006/relationships/tags" Target="../tags/tag899.xml"/><Relationship Id="rId12" Type="http://schemas.openxmlformats.org/officeDocument/2006/relationships/tags" Target="../tags/tag904.xml"/><Relationship Id="rId17" Type="http://schemas.openxmlformats.org/officeDocument/2006/relationships/tags" Target="../tags/tag909.xml"/><Relationship Id="rId25" Type="http://schemas.openxmlformats.org/officeDocument/2006/relationships/slideLayout" Target="../slideLayouts/slideLayout3.xml"/><Relationship Id="rId33" Type="http://schemas.openxmlformats.org/officeDocument/2006/relationships/image" Target="../media/image110.png"/><Relationship Id="rId38" Type="http://schemas.openxmlformats.org/officeDocument/2006/relationships/image" Target="../media/image114.png"/><Relationship Id="rId2" Type="http://schemas.openxmlformats.org/officeDocument/2006/relationships/tags" Target="../tags/tag894.xml"/><Relationship Id="rId16" Type="http://schemas.openxmlformats.org/officeDocument/2006/relationships/tags" Target="../tags/tag908.xml"/><Relationship Id="rId20" Type="http://schemas.openxmlformats.org/officeDocument/2006/relationships/tags" Target="../tags/tag912.xml"/><Relationship Id="rId29" Type="http://schemas.openxmlformats.org/officeDocument/2006/relationships/image" Target="../media/image72.jpeg"/><Relationship Id="rId41" Type="http://schemas.openxmlformats.org/officeDocument/2006/relationships/image" Target="../media/image117.png"/><Relationship Id="rId1" Type="http://schemas.openxmlformats.org/officeDocument/2006/relationships/vmlDrawing" Target="../drawings/vmlDrawing32.vml"/><Relationship Id="rId6" Type="http://schemas.openxmlformats.org/officeDocument/2006/relationships/tags" Target="../tags/tag898.xml"/><Relationship Id="rId11" Type="http://schemas.openxmlformats.org/officeDocument/2006/relationships/tags" Target="../tags/tag903.xml"/><Relationship Id="rId24" Type="http://schemas.openxmlformats.org/officeDocument/2006/relationships/tags" Target="../tags/tag916.xml"/><Relationship Id="rId32" Type="http://schemas.openxmlformats.org/officeDocument/2006/relationships/image" Target="../media/image109.jpeg"/><Relationship Id="rId37" Type="http://schemas.openxmlformats.org/officeDocument/2006/relationships/image" Target="../media/image113.png"/><Relationship Id="rId40" Type="http://schemas.openxmlformats.org/officeDocument/2006/relationships/image" Target="../media/image116.png"/><Relationship Id="rId5" Type="http://schemas.openxmlformats.org/officeDocument/2006/relationships/tags" Target="../tags/tag897.xml"/><Relationship Id="rId15" Type="http://schemas.openxmlformats.org/officeDocument/2006/relationships/tags" Target="../tags/tag907.xml"/><Relationship Id="rId23" Type="http://schemas.openxmlformats.org/officeDocument/2006/relationships/tags" Target="../tags/tag915.xml"/><Relationship Id="rId28" Type="http://schemas.openxmlformats.org/officeDocument/2006/relationships/image" Target="../media/image106.jpeg"/><Relationship Id="rId36" Type="http://schemas.openxmlformats.org/officeDocument/2006/relationships/image" Target="../media/image112.jpeg"/><Relationship Id="rId10" Type="http://schemas.openxmlformats.org/officeDocument/2006/relationships/tags" Target="../tags/tag902.xml"/><Relationship Id="rId19" Type="http://schemas.openxmlformats.org/officeDocument/2006/relationships/tags" Target="../tags/tag911.xml"/><Relationship Id="rId31" Type="http://schemas.openxmlformats.org/officeDocument/2006/relationships/image" Target="../media/image108.jpeg"/><Relationship Id="rId4" Type="http://schemas.openxmlformats.org/officeDocument/2006/relationships/tags" Target="../tags/tag896.xml"/><Relationship Id="rId9" Type="http://schemas.openxmlformats.org/officeDocument/2006/relationships/tags" Target="../tags/tag901.xml"/><Relationship Id="rId14" Type="http://schemas.openxmlformats.org/officeDocument/2006/relationships/tags" Target="../tags/tag906.xml"/><Relationship Id="rId22" Type="http://schemas.openxmlformats.org/officeDocument/2006/relationships/tags" Target="../tags/tag914.xml"/><Relationship Id="rId27" Type="http://schemas.openxmlformats.org/officeDocument/2006/relationships/image" Target="../media/image75.emf"/><Relationship Id="rId30" Type="http://schemas.openxmlformats.org/officeDocument/2006/relationships/image" Target="../media/image107.jpeg"/><Relationship Id="rId35" Type="http://schemas.openxmlformats.org/officeDocument/2006/relationships/image" Target="../media/image11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13" Type="http://schemas.openxmlformats.org/officeDocument/2006/relationships/image" Target="../media/image54.jpeg"/><Relationship Id="rId3" Type="http://schemas.openxmlformats.org/officeDocument/2006/relationships/tags" Target="../tags/tag919.xml"/><Relationship Id="rId7" Type="http://schemas.openxmlformats.org/officeDocument/2006/relationships/tags" Target="../tags/tag923.xml"/><Relationship Id="rId12" Type="http://schemas.openxmlformats.org/officeDocument/2006/relationships/image" Target="../media/image52.png"/><Relationship Id="rId17" Type="http://schemas.openxmlformats.org/officeDocument/2006/relationships/image" Target="../media/image121.jpeg"/><Relationship Id="rId2" Type="http://schemas.openxmlformats.org/officeDocument/2006/relationships/tags" Target="../tags/tag918.xml"/><Relationship Id="rId16" Type="http://schemas.openxmlformats.org/officeDocument/2006/relationships/image" Target="../media/image120.jpeg"/><Relationship Id="rId1" Type="http://schemas.openxmlformats.org/officeDocument/2006/relationships/tags" Target="../tags/tag917.xml"/><Relationship Id="rId6" Type="http://schemas.openxmlformats.org/officeDocument/2006/relationships/tags" Target="../tags/tag922.xml"/><Relationship Id="rId11" Type="http://schemas.openxmlformats.org/officeDocument/2006/relationships/image" Target="../media/image46.png"/><Relationship Id="rId5" Type="http://schemas.openxmlformats.org/officeDocument/2006/relationships/tags" Target="../tags/tag921.xml"/><Relationship Id="rId15" Type="http://schemas.openxmlformats.org/officeDocument/2006/relationships/image" Target="../media/image56.png"/><Relationship Id="rId10" Type="http://schemas.openxmlformats.org/officeDocument/2006/relationships/image" Target="../media/image72.jpeg"/><Relationship Id="rId4" Type="http://schemas.openxmlformats.org/officeDocument/2006/relationships/tags" Target="../tags/tag920.xml"/><Relationship Id="rId9" Type="http://schemas.openxmlformats.org/officeDocument/2006/relationships/image" Target="../media/image58.png"/><Relationship Id="rId14" Type="http://schemas.openxmlformats.org/officeDocument/2006/relationships/image" Target="../media/image5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tags" Target="../tags/tag204.xml"/><Relationship Id="rId18" Type="http://schemas.openxmlformats.org/officeDocument/2006/relationships/tags" Target="../tags/tag209.xml"/><Relationship Id="rId26" Type="http://schemas.openxmlformats.org/officeDocument/2006/relationships/tags" Target="../tags/tag217.xml"/><Relationship Id="rId39" Type="http://schemas.openxmlformats.org/officeDocument/2006/relationships/image" Target="../media/image12.png"/><Relationship Id="rId3" Type="http://schemas.openxmlformats.org/officeDocument/2006/relationships/tags" Target="../tags/tag194.xml"/><Relationship Id="rId21" Type="http://schemas.openxmlformats.org/officeDocument/2006/relationships/tags" Target="../tags/tag212.xml"/><Relationship Id="rId34" Type="http://schemas.openxmlformats.org/officeDocument/2006/relationships/oleObject" Target="../embeddings/oleObject26.bin"/><Relationship Id="rId42" Type="http://schemas.openxmlformats.org/officeDocument/2006/relationships/image" Target="../media/image15.png"/><Relationship Id="rId47" Type="http://schemas.openxmlformats.org/officeDocument/2006/relationships/image" Target="../media/image19.png"/><Relationship Id="rId7" Type="http://schemas.openxmlformats.org/officeDocument/2006/relationships/tags" Target="../tags/tag198.xml"/><Relationship Id="rId12" Type="http://schemas.openxmlformats.org/officeDocument/2006/relationships/tags" Target="../tags/tag203.xml"/><Relationship Id="rId17" Type="http://schemas.openxmlformats.org/officeDocument/2006/relationships/tags" Target="../tags/tag208.xml"/><Relationship Id="rId25" Type="http://schemas.openxmlformats.org/officeDocument/2006/relationships/tags" Target="../tags/tag216.xml"/><Relationship Id="rId33" Type="http://schemas.openxmlformats.org/officeDocument/2006/relationships/slideLayout" Target="../slideLayouts/slideLayout3.xml"/><Relationship Id="rId38" Type="http://schemas.openxmlformats.org/officeDocument/2006/relationships/image" Target="../media/image11.png"/><Relationship Id="rId46" Type="http://schemas.openxmlformats.org/officeDocument/2006/relationships/image" Target="../media/image18.jpeg"/><Relationship Id="rId2" Type="http://schemas.openxmlformats.org/officeDocument/2006/relationships/tags" Target="../tags/tag193.xml"/><Relationship Id="rId16" Type="http://schemas.openxmlformats.org/officeDocument/2006/relationships/tags" Target="../tags/tag207.xml"/><Relationship Id="rId20" Type="http://schemas.openxmlformats.org/officeDocument/2006/relationships/tags" Target="../tags/tag211.xml"/><Relationship Id="rId29" Type="http://schemas.openxmlformats.org/officeDocument/2006/relationships/tags" Target="../tags/tag220.xml"/><Relationship Id="rId41" Type="http://schemas.openxmlformats.org/officeDocument/2006/relationships/image" Target="../media/image14.png"/><Relationship Id="rId1" Type="http://schemas.openxmlformats.org/officeDocument/2006/relationships/vmlDrawing" Target="../drawings/vmlDrawing26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24" Type="http://schemas.openxmlformats.org/officeDocument/2006/relationships/tags" Target="../tags/tag215.xml"/><Relationship Id="rId32" Type="http://schemas.openxmlformats.org/officeDocument/2006/relationships/tags" Target="../tags/tag223.xml"/><Relationship Id="rId37" Type="http://schemas.openxmlformats.org/officeDocument/2006/relationships/image" Target="../media/image10.png"/><Relationship Id="rId40" Type="http://schemas.openxmlformats.org/officeDocument/2006/relationships/image" Target="../media/image13.png"/><Relationship Id="rId45" Type="http://schemas.microsoft.com/office/2007/relationships/hdphoto" Target="../media/hdphoto1.wdp"/><Relationship Id="rId5" Type="http://schemas.openxmlformats.org/officeDocument/2006/relationships/tags" Target="../tags/tag196.xml"/><Relationship Id="rId15" Type="http://schemas.openxmlformats.org/officeDocument/2006/relationships/tags" Target="../tags/tag206.xml"/><Relationship Id="rId23" Type="http://schemas.openxmlformats.org/officeDocument/2006/relationships/tags" Target="../tags/tag214.xml"/><Relationship Id="rId28" Type="http://schemas.openxmlformats.org/officeDocument/2006/relationships/tags" Target="../tags/tag219.xml"/><Relationship Id="rId36" Type="http://schemas.openxmlformats.org/officeDocument/2006/relationships/image" Target="../media/image9.jpeg"/><Relationship Id="rId10" Type="http://schemas.openxmlformats.org/officeDocument/2006/relationships/tags" Target="../tags/tag201.xml"/><Relationship Id="rId19" Type="http://schemas.openxmlformats.org/officeDocument/2006/relationships/tags" Target="../tags/tag210.xml"/><Relationship Id="rId31" Type="http://schemas.openxmlformats.org/officeDocument/2006/relationships/tags" Target="../tags/tag222.xml"/><Relationship Id="rId44" Type="http://schemas.openxmlformats.org/officeDocument/2006/relationships/image" Target="../media/image17.png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tags" Target="../tags/tag205.xml"/><Relationship Id="rId22" Type="http://schemas.openxmlformats.org/officeDocument/2006/relationships/tags" Target="../tags/tag213.xml"/><Relationship Id="rId27" Type="http://schemas.openxmlformats.org/officeDocument/2006/relationships/tags" Target="../tags/tag218.xml"/><Relationship Id="rId30" Type="http://schemas.openxmlformats.org/officeDocument/2006/relationships/tags" Target="../tags/tag221.xml"/><Relationship Id="rId35" Type="http://schemas.openxmlformats.org/officeDocument/2006/relationships/image" Target="../media/image1.emf"/><Relationship Id="rId43" Type="http://schemas.openxmlformats.org/officeDocument/2006/relationships/image" Target="../media/image16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925.xml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10.png"/><Relationship Id="rId2" Type="http://schemas.openxmlformats.org/officeDocument/2006/relationships/tags" Target="../tags/tag924.xml"/><Relationship Id="rId1" Type="http://schemas.openxmlformats.org/officeDocument/2006/relationships/vmlDrawing" Target="../drawings/vmlDrawing33.vml"/><Relationship Id="rId6" Type="http://schemas.openxmlformats.org/officeDocument/2006/relationships/tags" Target="../tags/tag928.xml"/><Relationship Id="rId11" Type="http://schemas.openxmlformats.org/officeDocument/2006/relationships/image" Target="../media/image124.png"/><Relationship Id="rId5" Type="http://schemas.openxmlformats.org/officeDocument/2006/relationships/tags" Target="../tags/tag927.xml"/><Relationship Id="rId10" Type="http://schemas.openxmlformats.org/officeDocument/2006/relationships/image" Target="../media/image40.gif"/><Relationship Id="rId4" Type="http://schemas.openxmlformats.org/officeDocument/2006/relationships/tags" Target="../tags/tag926.xml"/><Relationship Id="rId9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930.xml"/><Relationship Id="rId7" Type="http://schemas.openxmlformats.org/officeDocument/2006/relationships/image" Target="../media/image1.emf"/><Relationship Id="rId2" Type="http://schemas.openxmlformats.org/officeDocument/2006/relationships/tags" Target="../tags/tag929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11" Type="http://schemas.openxmlformats.org/officeDocument/2006/relationships/image" Target="../media/image125.png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38.gif"/><Relationship Id="rId4" Type="http://schemas.openxmlformats.org/officeDocument/2006/relationships/tags" Target="../tags/tag931.xml"/><Relationship Id="rId9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emf"/><Relationship Id="rId13" Type="http://schemas.openxmlformats.org/officeDocument/2006/relationships/image" Target="../media/image129.png"/><Relationship Id="rId18" Type="http://schemas.openxmlformats.org/officeDocument/2006/relationships/image" Target="../media/image134.png"/><Relationship Id="rId3" Type="http://schemas.openxmlformats.org/officeDocument/2006/relationships/tags" Target="../tags/tag933.xml"/><Relationship Id="rId21" Type="http://schemas.openxmlformats.org/officeDocument/2006/relationships/image" Target="../media/image136.png"/><Relationship Id="rId7" Type="http://schemas.openxmlformats.org/officeDocument/2006/relationships/oleObject" Target="../embeddings/oleObject35.bin"/><Relationship Id="rId12" Type="http://schemas.microsoft.com/office/2007/relationships/hdphoto" Target="NULL"/><Relationship Id="rId17" Type="http://schemas.openxmlformats.org/officeDocument/2006/relationships/image" Target="../media/image133.png"/><Relationship Id="rId25" Type="http://schemas.openxmlformats.org/officeDocument/2006/relationships/image" Target="../media/image140.png"/><Relationship Id="rId2" Type="http://schemas.openxmlformats.org/officeDocument/2006/relationships/tags" Target="../tags/tag932.xml"/><Relationship Id="rId16" Type="http://schemas.openxmlformats.org/officeDocument/2006/relationships/image" Target="../media/image132.png"/><Relationship Id="rId20" Type="http://schemas.openxmlformats.org/officeDocument/2006/relationships/image" Target="../media/image135.png"/><Relationship Id="rId1" Type="http://schemas.openxmlformats.org/officeDocument/2006/relationships/vmlDrawing" Target="../drawings/vmlDrawing35.v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128.png"/><Relationship Id="rId24" Type="http://schemas.openxmlformats.org/officeDocument/2006/relationships/image" Target="../media/image139.png"/><Relationship Id="rId5" Type="http://schemas.openxmlformats.org/officeDocument/2006/relationships/tags" Target="../tags/tag935.xml"/><Relationship Id="rId15" Type="http://schemas.openxmlformats.org/officeDocument/2006/relationships/image" Target="../media/image131.png"/><Relationship Id="rId23" Type="http://schemas.openxmlformats.org/officeDocument/2006/relationships/image" Target="../media/image138.png"/><Relationship Id="rId10" Type="http://schemas.openxmlformats.org/officeDocument/2006/relationships/image" Target="../media/image127.png"/><Relationship Id="rId19" Type="http://schemas.openxmlformats.org/officeDocument/2006/relationships/image" Target="../media/image27.png"/><Relationship Id="rId4" Type="http://schemas.openxmlformats.org/officeDocument/2006/relationships/tags" Target="../tags/tag934.xml"/><Relationship Id="rId9" Type="http://schemas.openxmlformats.org/officeDocument/2006/relationships/image" Target="../media/image126.png"/><Relationship Id="rId14" Type="http://schemas.openxmlformats.org/officeDocument/2006/relationships/image" Target="../media/image130.png"/><Relationship Id="rId22" Type="http://schemas.openxmlformats.org/officeDocument/2006/relationships/image" Target="../media/image13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3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38.xml"/><Relationship Id="rId1" Type="http://schemas.openxmlformats.org/officeDocument/2006/relationships/tags" Target="../tags/tag937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48.xml"/><Relationship Id="rId117" Type="http://schemas.openxmlformats.org/officeDocument/2006/relationships/image" Target="../media/image36.png"/><Relationship Id="rId21" Type="http://schemas.openxmlformats.org/officeDocument/2006/relationships/tags" Target="../tags/tag243.xml"/><Relationship Id="rId42" Type="http://schemas.openxmlformats.org/officeDocument/2006/relationships/tags" Target="../tags/tag264.xml"/><Relationship Id="rId47" Type="http://schemas.openxmlformats.org/officeDocument/2006/relationships/tags" Target="../tags/tag269.xml"/><Relationship Id="rId63" Type="http://schemas.openxmlformats.org/officeDocument/2006/relationships/tags" Target="../tags/tag285.xml"/><Relationship Id="rId68" Type="http://schemas.openxmlformats.org/officeDocument/2006/relationships/tags" Target="../tags/tag290.xml"/><Relationship Id="rId84" Type="http://schemas.openxmlformats.org/officeDocument/2006/relationships/tags" Target="../tags/tag306.xml"/><Relationship Id="rId89" Type="http://schemas.openxmlformats.org/officeDocument/2006/relationships/tags" Target="../tags/tag311.xml"/><Relationship Id="rId112" Type="http://schemas.openxmlformats.org/officeDocument/2006/relationships/image" Target="../media/image33.png"/><Relationship Id="rId16" Type="http://schemas.openxmlformats.org/officeDocument/2006/relationships/tags" Target="../tags/tag238.xml"/><Relationship Id="rId107" Type="http://schemas.openxmlformats.org/officeDocument/2006/relationships/image" Target="../media/image28.png"/><Relationship Id="rId11" Type="http://schemas.openxmlformats.org/officeDocument/2006/relationships/tags" Target="../tags/tag233.xml"/><Relationship Id="rId32" Type="http://schemas.openxmlformats.org/officeDocument/2006/relationships/tags" Target="../tags/tag254.xml"/><Relationship Id="rId37" Type="http://schemas.openxmlformats.org/officeDocument/2006/relationships/tags" Target="../tags/tag259.xml"/><Relationship Id="rId53" Type="http://schemas.openxmlformats.org/officeDocument/2006/relationships/tags" Target="../tags/tag275.xml"/><Relationship Id="rId58" Type="http://schemas.openxmlformats.org/officeDocument/2006/relationships/tags" Target="../tags/tag280.xml"/><Relationship Id="rId74" Type="http://schemas.openxmlformats.org/officeDocument/2006/relationships/tags" Target="../tags/tag296.xml"/><Relationship Id="rId79" Type="http://schemas.openxmlformats.org/officeDocument/2006/relationships/tags" Target="../tags/tag301.xml"/><Relationship Id="rId102" Type="http://schemas.openxmlformats.org/officeDocument/2006/relationships/image" Target="../media/image23.png"/><Relationship Id="rId123" Type="http://schemas.openxmlformats.org/officeDocument/2006/relationships/image" Target="../media/image42.png"/><Relationship Id="rId5" Type="http://schemas.openxmlformats.org/officeDocument/2006/relationships/tags" Target="../tags/tag227.xml"/><Relationship Id="rId90" Type="http://schemas.openxmlformats.org/officeDocument/2006/relationships/tags" Target="../tags/tag312.xml"/><Relationship Id="rId95" Type="http://schemas.openxmlformats.org/officeDocument/2006/relationships/slideLayout" Target="../slideLayouts/slideLayout3.xml"/><Relationship Id="rId19" Type="http://schemas.openxmlformats.org/officeDocument/2006/relationships/tags" Target="../tags/tag241.xml"/><Relationship Id="rId14" Type="http://schemas.openxmlformats.org/officeDocument/2006/relationships/tags" Target="../tags/tag236.xml"/><Relationship Id="rId22" Type="http://schemas.openxmlformats.org/officeDocument/2006/relationships/tags" Target="../tags/tag244.xml"/><Relationship Id="rId27" Type="http://schemas.openxmlformats.org/officeDocument/2006/relationships/tags" Target="../tags/tag249.xml"/><Relationship Id="rId30" Type="http://schemas.openxmlformats.org/officeDocument/2006/relationships/tags" Target="../tags/tag252.xml"/><Relationship Id="rId35" Type="http://schemas.openxmlformats.org/officeDocument/2006/relationships/tags" Target="../tags/tag257.xml"/><Relationship Id="rId43" Type="http://schemas.openxmlformats.org/officeDocument/2006/relationships/tags" Target="../tags/tag265.xml"/><Relationship Id="rId48" Type="http://schemas.openxmlformats.org/officeDocument/2006/relationships/tags" Target="../tags/tag270.xml"/><Relationship Id="rId56" Type="http://schemas.openxmlformats.org/officeDocument/2006/relationships/tags" Target="../tags/tag278.xml"/><Relationship Id="rId64" Type="http://schemas.openxmlformats.org/officeDocument/2006/relationships/tags" Target="../tags/tag286.xml"/><Relationship Id="rId69" Type="http://schemas.openxmlformats.org/officeDocument/2006/relationships/tags" Target="../tags/tag291.xml"/><Relationship Id="rId77" Type="http://schemas.openxmlformats.org/officeDocument/2006/relationships/tags" Target="../tags/tag299.xml"/><Relationship Id="rId100" Type="http://schemas.openxmlformats.org/officeDocument/2006/relationships/image" Target="../media/image21.png"/><Relationship Id="rId105" Type="http://schemas.openxmlformats.org/officeDocument/2006/relationships/image" Target="../media/image26.png"/><Relationship Id="rId113" Type="http://schemas.microsoft.com/office/2007/relationships/hdphoto" Target="../media/hdphoto2.wdp"/><Relationship Id="rId118" Type="http://schemas.openxmlformats.org/officeDocument/2006/relationships/image" Target="../media/image37.png"/><Relationship Id="rId126" Type="http://schemas.openxmlformats.org/officeDocument/2006/relationships/image" Target="../media/image3.png"/><Relationship Id="rId8" Type="http://schemas.openxmlformats.org/officeDocument/2006/relationships/tags" Target="../tags/tag230.xml"/><Relationship Id="rId51" Type="http://schemas.openxmlformats.org/officeDocument/2006/relationships/tags" Target="../tags/tag273.xml"/><Relationship Id="rId72" Type="http://schemas.openxmlformats.org/officeDocument/2006/relationships/tags" Target="../tags/tag294.xml"/><Relationship Id="rId80" Type="http://schemas.openxmlformats.org/officeDocument/2006/relationships/tags" Target="../tags/tag302.xml"/><Relationship Id="rId85" Type="http://schemas.openxmlformats.org/officeDocument/2006/relationships/tags" Target="../tags/tag307.xml"/><Relationship Id="rId93" Type="http://schemas.openxmlformats.org/officeDocument/2006/relationships/tags" Target="../tags/tag315.xml"/><Relationship Id="rId98" Type="http://schemas.openxmlformats.org/officeDocument/2006/relationships/image" Target="../media/image10.png"/><Relationship Id="rId121" Type="http://schemas.openxmlformats.org/officeDocument/2006/relationships/image" Target="../media/image40.gif"/><Relationship Id="rId3" Type="http://schemas.openxmlformats.org/officeDocument/2006/relationships/tags" Target="../tags/tag225.xml"/><Relationship Id="rId12" Type="http://schemas.openxmlformats.org/officeDocument/2006/relationships/tags" Target="../tags/tag234.xml"/><Relationship Id="rId17" Type="http://schemas.openxmlformats.org/officeDocument/2006/relationships/tags" Target="../tags/tag239.xml"/><Relationship Id="rId25" Type="http://schemas.openxmlformats.org/officeDocument/2006/relationships/tags" Target="../tags/tag247.xml"/><Relationship Id="rId33" Type="http://schemas.openxmlformats.org/officeDocument/2006/relationships/tags" Target="../tags/tag255.xml"/><Relationship Id="rId38" Type="http://schemas.openxmlformats.org/officeDocument/2006/relationships/tags" Target="../tags/tag260.xml"/><Relationship Id="rId46" Type="http://schemas.openxmlformats.org/officeDocument/2006/relationships/tags" Target="../tags/tag268.xml"/><Relationship Id="rId59" Type="http://schemas.openxmlformats.org/officeDocument/2006/relationships/tags" Target="../tags/tag281.xml"/><Relationship Id="rId67" Type="http://schemas.openxmlformats.org/officeDocument/2006/relationships/tags" Target="../tags/tag289.xml"/><Relationship Id="rId103" Type="http://schemas.openxmlformats.org/officeDocument/2006/relationships/image" Target="../media/image24.png"/><Relationship Id="rId108" Type="http://schemas.openxmlformats.org/officeDocument/2006/relationships/image" Target="../media/image29.png"/><Relationship Id="rId116" Type="http://schemas.openxmlformats.org/officeDocument/2006/relationships/image" Target="../media/image35.jpeg"/><Relationship Id="rId124" Type="http://schemas.openxmlformats.org/officeDocument/2006/relationships/image" Target="../media/image8.jpeg"/><Relationship Id="rId20" Type="http://schemas.openxmlformats.org/officeDocument/2006/relationships/tags" Target="../tags/tag242.xml"/><Relationship Id="rId41" Type="http://schemas.openxmlformats.org/officeDocument/2006/relationships/tags" Target="../tags/tag263.xml"/><Relationship Id="rId54" Type="http://schemas.openxmlformats.org/officeDocument/2006/relationships/tags" Target="../tags/tag276.xml"/><Relationship Id="rId62" Type="http://schemas.openxmlformats.org/officeDocument/2006/relationships/tags" Target="../tags/tag284.xml"/><Relationship Id="rId70" Type="http://schemas.openxmlformats.org/officeDocument/2006/relationships/tags" Target="../tags/tag292.xml"/><Relationship Id="rId75" Type="http://schemas.openxmlformats.org/officeDocument/2006/relationships/tags" Target="../tags/tag297.xml"/><Relationship Id="rId83" Type="http://schemas.openxmlformats.org/officeDocument/2006/relationships/tags" Target="../tags/tag305.xml"/><Relationship Id="rId88" Type="http://schemas.openxmlformats.org/officeDocument/2006/relationships/tags" Target="../tags/tag310.xml"/><Relationship Id="rId91" Type="http://schemas.openxmlformats.org/officeDocument/2006/relationships/tags" Target="../tags/tag313.xml"/><Relationship Id="rId96" Type="http://schemas.openxmlformats.org/officeDocument/2006/relationships/oleObject" Target="../embeddings/oleObject27.bin"/><Relationship Id="rId111" Type="http://schemas.openxmlformats.org/officeDocument/2006/relationships/image" Target="../media/image32.jpeg"/><Relationship Id="rId1" Type="http://schemas.openxmlformats.org/officeDocument/2006/relationships/vmlDrawing" Target="../drawings/vmlDrawing27.vml"/><Relationship Id="rId6" Type="http://schemas.openxmlformats.org/officeDocument/2006/relationships/tags" Target="../tags/tag228.xml"/><Relationship Id="rId15" Type="http://schemas.openxmlformats.org/officeDocument/2006/relationships/tags" Target="../tags/tag237.xml"/><Relationship Id="rId23" Type="http://schemas.openxmlformats.org/officeDocument/2006/relationships/tags" Target="../tags/tag245.xml"/><Relationship Id="rId28" Type="http://schemas.openxmlformats.org/officeDocument/2006/relationships/tags" Target="../tags/tag250.xml"/><Relationship Id="rId36" Type="http://schemas.openxmlformats.org/officeDocument/2006/relationships/tags" Target="../tags/tag258.xml"/><Relationship Id="rId49" Type="http://schemas.openxmlformats.org/officeDocument/2006/relationships/tags" Target="../tags/tag271.xml"/><Relationship Id="rId57" Type="http://schemas.openxmlformats.org/officeDocument/2006/relationships/tags" Target="../tags/tag279.xml"/><Relationship Id="rId106" Type="http://schemas.openxmlformats.org/officeDocument/2006/relationships/image" Target="../media/image27.png"/><Relationship Id="rId114" Type="http://schemas.openxmlformats.org/officeDocument/2006/relationships/image" Target="../media/image34.png"/><Relationship Id="rId119" Type="http://schemas.openxmlformats.org/officeDocument/2006/relationships/image" Target="../media/image38.gif"/><Relationship Id="rId127" Type="http://schemas.openxmlformats.org/officeDocument/2006/relationships/image" Target="../media/image43.jpeg"/><Relationship Id="rId10" Type="http://schemas.openxmlformats.org/officeDocument/2006/relationships/tags" Target="../tags/tag232.xml"/><Relationship Id="rId31" Type="http://schemas.openxmlformats.org/officeDocument/2006/relationships/tags" Target="../tags/tag253.xml"/><Relationship Id="rId44" Type="http://schemas.openxmlformats.org/officeDocument/2006/relationships/tags" Target="../tags/tag266.xml"/><Relationship Id="rId52" Type="http://schemas.openxmlformats.org/officeDocument/2006/relationships/tags" Target="../tags/tag274.xml"/><Relationship Id="rId60" Type="http://schemas.openxmlformats.org/officeDocument/2006/relationships/tags" Target="../tags/tag282.xml"/><Relationship Id="rId65" Type="http://schemas.openxmlformats.org/officeDocument/2006/relationships/tags" Target="../tags/tag287.xml"/><Relationship Id="rId73" Type="http://schemas.openxmlformats.org/officeDocument/2006/relationships/tags" Target="../tags/tag295.xml"/><Relationship Id="rId78" Type="http://schemas.openxmlformats.org/officeDocument/2006/relationships/tags" Target="../tags/tag300.xml"/><Relationship Id="rId81" Type="http://schemas.openxmlformats.org/officeDocument/2006/relationships/tags" Target="../tags/tag303.xml"/><Relationship Id="rId86" Type="http://schemas.openxmlformats.org/officeDocument/2006/relationships/tags" Target="../tags/tag308.xml"/><Relationship Id="rId94" Type="http://schemas.openxmlformats.org/officeDocument/2006/relationships/tags" Target="../tags/tag316.xml"/><Relationship Id="rId99" Type="http://schemas.openxmlformats.org/officeDocument/2006/relationships/image" Target="../media/image20.png"/><Relationship Id="rId101" Type="http://schemas.openxmlformats.org/officeDocument/2006/relationships/image" Target="../media/image22.png"/><Relationship Id="rId122" Type="http://schemas.openxmlformats.org/officeDocument/2006/relationships/image" Target="../media/image41.png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3" Type="http://schemas.openxmlformats.org/officeDocument/2006/relationships/tags" Target="../tags/tag235.xml"/><Relationship Id="rId18" Type="http://schemas.openxmlformats.org/officeDocument/2006/relationships/tags" Target="../tags/tag240.xml"/><Relationship Id="rId39" Type="http://schemas.openxmlformats.org/officeDocument/2006/relationships/tags" Target="../tags/tag261.xml"/><Relationship Id="rId109" Type="http://schemas.openxmlformats.org/officeDocument/2006/relationships/image" Target="../media/image30.png"/><Relationship Id="rId34" Type="http://schemas.openxmlformats.org/officeDocument/2006/relationships/tags" Target="../tags/tag256.xml"/><Relationship Id="rId50" Type="http://schemas.openxmlformats.org/officeDocument/2006/relationships/tags" Target="../tags/tag272.xml"/><Relationship Id="rId55" Type="http://schemas.openxmlformats.org/officeDocument/2006/relationships/tags" Target="../tags/tag277.xml"/><Relationship Id="rId76" Type="http://schemas.openxmlformats.org/officeDocument/2006/relationships/tags" Target="../tags/tag298.xml"/><Relationship Id="rId97" Type="http://schemas.openxmlformats.org/officeDocument/2006/relationships/image" Target="../media/image1.emf"/><Relationship Id="rId104" Type="http://schemas.openxmlformats.org/officeDocument/2006/relationships/image" Target="../media/image25.jpeg"/><Relationship Id="rId120" Type="http://schemas.openxmlformats.org/officeDocument/2006/relationships/image" Target="../media/image39.png"/><Relationship Id="rId125" Type="http://schemas.openxmlformats.org/officeDocument/2006/relationships/image" Target="../media/image2.emf"/><Relationship Id="rId7" Type="http://schemas.openxmlformats.org/officeDocument/2006/relationships/tags" Target="../tags/tag229.xml"/><Relationship Id="rId71" Type="http://schemas.openxmlformats.org/officeDocument/2006/relationships/tags" Target="../tags/tag293.xml"/><Relationship Id="rId92" Type="http://schemas.openxmlformats.org/officeDocument/2006/relationships/tags" Target="../tags/tag314.xml"/><Relationship Id="rId2" Type="http://schemas.openxmlformats.org/officeDocument/2006/relationships/tags" Target="../tags/tag224.xml"/><Relationship Id="rId29" Type="http://schemas.openxmlformats.org/officeDocument/2006/relationships/tags" Target="../tags/tag251.xml"/><Relationship Id="rId24" Type="http://schemas.openxmlformats.org/officeDocument/2006/relationships/tags" Target="../tags/tag246.xml"/><Relationship Id="rId40" Type="http://schemas.openxmlformats.org/officeDocument/2006/relationships/tags" Target="../tags/tag262.xml"/><Relationship Id="rId45" Type="http://schemas.openxmlformats.org/officeDocument/2006/relationships/tags" Target="../tags/tag267.xml"/><Relationship Id="rId66" Type="http://schemas.openxmlformats.org/officeDocument/2006/relationships/tags" Target="../tags/tag288.xml"/><Relationship Id="rId87" Type="http://schemas.openxmlformats.org/officeDocument/2006/relationships/tags" Target="../tags/tag309.xml"/><Relationship Id="rId110" Type="http://schemas.openxmlformats.org/officeDocument/2006/relationships/image" Target="../media/image31.png"/><Relationship Id="rId115" Type="http://schemas.microsoft.com/office/2007/relationships/hdphoto" Target="../media/hdphoto3.wdp"/><Relationship Id="rId61" Type="http://schemas.openxmlformats.org/officeDocument/2006/relationships/tags" Target="../tags/tag283.xml"/><Relationship Id="rId82" Type="http://schemas.openxmlformats.org/officeDocument/2006/relationships/tags" Target="../tags/tag304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342.xml"/><Relationship Id="rId117" Type="http://schemas.openxmlformats.org/officeDocument/2006/relationships/image" Target="../media/image64.emf"/><Relationship Id="rId21" Type="http://schemas.openxmlformats.org/officeDocument/2006/relationships/tags" Target="../tags/tag337.xml"/><Relationship Id="rId42" Type="http://schemas.openxmlformats.org/officeDocument/2006/relationships/tags" Target="../tags/tag358.xml"/><Relationship Id="rId47" Type="http://schemas.openxmlformats.org/officeDocument/2006/relationships/tags" Target="../tags/tag363.xml"/><Relationship Id="rId63" Type="http://schemas.openxmlformats.org/officeDocument/2006/relationships/tags" Target="../tags/tag379.xml"/><Relationship Id="rId68" Type="http://schemas.openxmlformats.org/officeDocument/2006/relationships/tags" Target="../tags/tag384.xml"/><Relationship Id="rId84" Type="http://schemas.openxmlformats.org/officeDocument/2006/relationships/tags" Target="../tags/tag400.xml"/><Relationship Id="rId89" Type="http://schemas.openxmlformats.org/officeDocument/2006/relationships/tags" Target="../tags/tag405.xml"/><Relationship Id="rId112" Type="http://schemas.openxmlformats.org/officeDocument/2006/relationships/image" Target="../media/image59.png"/><Relationship Id="rId16" Type="http://schemas.openxmlformats.org/officeDocument/2006/relationships/tags" Target="../tags/tag332.xml"/><Relationship Id="rId107" Type="http://schemas.openxmlformats.org/officeDocument/2006/relationships/image" Target="../media/image54.jpeg"/><Relationship Id="rId11" Type="http://schemas.openxmlformats.org/officeDocument/2006/relationships/tags" Target="../tags/tag327.xml"/><Relationship Id="rId32" Type="http://schemas.openxmlformats.org/officeDocument/2006/relationships/tags" Target="../tags/tag348.xml"/><Relationship Id="rId37" Type="http://schemas.openxmlformats.org/officeDocument/2006/relationships/tags" Target="../tags/tag353.xml"/><Relationship Id="rId53" Type="http://schemas.openxmlformats.org/officeDocument/2006/relationships/tags" Target="../tags/tag369.xml"/><Relationship Id="rId58" Type="http://schemas.openxmlformats.org/officeDocument/2006/relationships/tags" Target="../tags/tag374.xml"/><Relationship Id="rId74" Type="http://schemas.openxmlformats.org/officeDocument/2006/relationships/tags" Target="../tags/tag390.xml"/><Relationship Id="rId79" Type="http://schemas.openxmlformats.org/officeDocument/2006/relationships/tags" Target="../tags/tag395.xml"/><Relationship Id="rId102" Type="http://schemas.openxmlformats.org/officeDocument/2006/relationships/image" Target="../media/image49.jpeg"/><Relationship Id="rId123" Type="http://schemas.openxmlformats.org/officeDocument/2006/relationships/image" Target="../media/image70.jpeg"/><Relationship Id="rId5" Type="http://schemas.openxmlformats.org/officeDocument/2006/relationships/tags" Target="../tags/tag321.xml"/><Relationship Id="rId90" Type="http://schemas.openxmlformats.org/officeDocument/2006/relationships/tags" Target="../tags/tag406.xml"/><Relationship Id="rId95" Type="http://schemas.openxmlformats.org/officeDocument/2006/relationships/slideLayout" Target="../slideLayouts/slideLayout3.xml"/><Relationship Id="rId19" Type="http://schemas.openxmlformats.org/officeDocument/2006/relationships/tags" Target="../tags/tag335.xml"/><Relationship Id="rId14" Type="http://schemas.openxmlformats.org/officeDocument/2006/relationships/tags" Target="../tags/tag330.xml"/><Relationship Id="rId22" Type="http://schemas.openxmlformats.org/officeDocument/2006/relationships/tags" Target="../tags/tag338.xml"/><Relationship Id="rId27" Type="http://schemas.openxmlformats.org/officeDocument/2006/relationships/tags" Target="../tags/tag343.xml"/><Relationship Id="rId30" Type="http://schemas.openxmlformats.org/officeDocument/2006/relationships/tags" Target="../tags/tag346.xml"/><Relationship Id="rId35" Type="http://schemas.openxmlformats.org/officeDocument/2006/relationships/tags" Target="../tags/tag351.xml"/><Relationship Id="rId43" Type="http://schemas.openxmlformats.org/officeDocument/2006/relationships/tags" Target="../tags/tag359.xml"/><Relationship Id="rId48" Type="http://schemas.openxmlformats.org/officeDocument/2006/relationships/tags" Target="../tags/tag364.xml"/><Relationship Id="rId56" Type="http://schemas.openxmlformats.org/officeDocument/2006/relationships/tags" Target="../tags/tag372.xml"/><Relationship Id="rId64" Type="http://schemas.openxmlformats.org/officeDocument/2006/relationships/tags" Target="../tags/tag380.xml"/><Relationship Id="rId69" Type="http://schemas.openxmlformats.org/officeDocument/2006/relationships/tags" Target="../tags/tag385.xml"/><Relationship Id="rId77" Type="http://schemas.openxmlformats.org/officeDocument/2006/relationships/tags" Target="../tags/tag393.xml"/><Relationship Id="rId100" Type="http://schemas.openxmlformats.org/officeDocument/2006/relationships/image" Target="../media/image47.png"/><Relationship Id="rId105" Type="http://schemas.openxmlformats.org/officeDocument/2006/relationships/image" Target="../media/image52.png"/><Relationship Id="rId113" Type="http://schemas.openxmlformats.org/officeDocument/2006/relationships/image" Target="../media/image60.png"/><Relationship Id="rId118" Type="http://schemas.openxmlformats.org/officeDocument/2006/relationships/image" Target="../media/image65.emf"/><Relationship Id="rId126" Type="http://schemas.openxmlformats.org/officeDocument/2006/relationships/image" Target="../media/image73.jpeg"/><Relationship Id="rId8" Type="http://schemas.openxmlformats.org/officeDocument/2006/relationships/tags" Target="../tags/tag324.xml"/><Relationship Id="rId51" Type="http://schemas.openxmlformats.org/officeDocument/2006/relationships/tags" Target="../tags/tag367.xml"/><Relationship Id="rId72" Type="http://schemas.openxmlformats.org/officeDocument/2006/relationships/tags" Target="../tags/tag388.xml"/><Relationship Id="rId80" Type="http://schemas.openxmlformats.org/officeDocument/2006/relationships/tags" Target="../tags/tag396.xml"/><Relationship Id="rId85" Type="http://schemas.openxmlformats.org/officeDocument/2006/relationships/tags" Target="../tags/tag401.xml"/><Relationship Id="rId93" Type="http://schemas.openxmlformats.org/officeDocument/2006/relationships/tags" Target="../tags/tag409.xml"/><Relationship Id="rId98" Type="http://schemas.openxmlformats.org/officeDocument/2006/relationships/image" Target="../media/image45.jpeg"/><Relationship Id="rId121" Type="http://schemas.openxmlformats.org/officeDocument/2006/relationships/image" Target="../media/image68.png"/><Relationship Id="rId3" Type="http://schemas.openxmlformats.org/officeDocument/2006/relationships/tags" Target="../tags/tag319.xml"/><Relationship Id="rId12" Type="http://schemas.openxmlformats.org/officeDocument/2006/relationships/tags" Target="../tags/tag328.xml"/><Relationship Id="rId17" Type="http://schemas.openxmlformats.org/officeDocument/2006/relationships/tags" Target="../tags/tag333.xml"/><Relationship Id="rId25" Type="http://schemas.openxmlformats.org/officeDocument/2006/relationships/tags" Target="../tags/tag341.xml"/><Relationship Id="rId33" Type="http://schemas.openxmlformats.org/officeDocument/2006/relationships/tags" Target="../tags/tag349.xml"/><Relationship Id="rId38" Type="http://schemas.openxmlformats.org/officeDocument/2006/relationships/tags" Target="../tags/tag354.xml"/><Relationship Id="rId46" Type="http://schemas.openxmlformats.org/officeDocument/2006/relationships/tags" Target="../tags/tag362.xml"/><Relationship Id="rId59" Type="http://schemas.openxmlformats.org/officeDocument/2006/relationships/tags" Target="../tags/tag375.xml"/><Relationship Id="rId67" Type="http://schemas.openxmlformats.org/officeDocument/2006/relationships/tags" Target="../tags/tag383.xml"/><Relationship Id="rId103" Type="http://schemas.openxmlformats.org/officeDocument/2006/relationships/image" Target="../media/image50.jpeg"/><Relationship Id="rId108" Type="http://schemas.openxmlformats.org/officeDocument/2006/relationships/image" Target="../media/image55.png"/><Relationship Id="rId116" Type="http://schemas.openxmlformats.org/officeDocument/2006/relationships/image" Target="../media/image63.jpeg"/><Relationship Id="rId124" Type="http://schemas.openxmlformats.org/officeDocument/2006/relationships/image" Target="../media/image71.jpeg"/><Relationship Id="rId20" Type="http://schemas.openxmlformats.org/officeDocument/2006/relationships/tags" Target="../tags/tag336.xml"/><Relationship Id="rId41" Type="http://schemas.openxmlformats.org/officeDocument/2006/relationships/tags" Target="../tags/tag357.xml"/><Relationship Id="rId54" Type="http://schemas.openxmlformats.org/officeDocument/2006/relationships/tags" Target="../tags/tag370.xml"/><Relationship Id="rId62" Type="http://schemas.openxmlformats.org/officeDocument/2006/relationships/tags" Target="../tags/tag378.xml"/><Relationship Id="rId70" Type="http://schemas.openxmlformats.org/officeDocument/2006/relationships/tags" Target="../tags/tag386.xml"/><Relationship Id="rId75" Type="http://schemas.openxmlformats.org/officeDocument/2006/relationships/tags" Target="../tags/tag391.xml"/><Relationship Id="rId83" Type="http://schemas.openxmlformats.org/officeDocument/2006/relationships/tags" Target="../tags/tag399.xml"/><Relationship Id="rId88" Type="http://schemas.openxmlformats.org/officeDocument/2006/relationships/tags" Target="../tags/tag404.xml"/><Relationship Id="rId91" Type="http://schemas.openxmlformats.org/officeDocument/2006/relationships/tags" Target="../tags/tag407.xml"/><Relationship Id="rId96" Type="http://schemas.openxmlformats.org/officeDocument/2006/relationships/image" Target="../media/image44.jpeg"/><Relationship Id="rId111" Type="http://schemas.openxmlformats.org/officeDocument/2006/relationships/image" Target="../media/image58.png"/><Relationship Id="rId1" Type="http://schemas.openxmlformats.org/officeDocument/2006/relationships/tags" Target="../tags/tag317.xml"/><Relationship Id="rId6" Type="http://schemas.openxmlformats.org/officeDocument/2006/relationships/tags" Target="../tags/tag322.xml"/><Relationship Id="rId15" Type="http://schemas.openxmlformats.org/officeDocument/2006/relationships/tags" Target="../tags/tag331.xml"/><Relationship Id="rId23" Type="http://schemas.openxmlformats.org/officeDocument/2006/relationships/tags" Target="../tags/tag339.xml"/><Relationship Id="rId28" Type="http://schemas.openxmlformats.org/officeDocument/2006/relationships/tags" Target="../tags/tag344.xml"/><Relationship Id="rId36" Type="http://schemas.openxmlformats.org/officeDocument/2006/relationships/tags" Target="../tags/tag352.xml"/><Relationship Id="rId49" Type="http://schemas.openxmlformats.org/officeDocument/2006/relationships/tags" Target="../tags/tag365.xml"/><Relationship Id="rId57" Type="http://schemas.openxmlformats.org/officeDocument/2006/relationships/tags" Target="../tags/tag373.xml"/><Relationship Id="rId106" Type="http://schemas.openxmlformats.org/officeDocument/2006/relationships/image" Target="../media/image53.png"/><Relationship Id="rId114" Type="http://schemas.openxmlformats.org/officeDocument/2006/relationships/image" Target="../media/image61.png"/><Relationship Id="rId119" Type="http://schemas.openxmlformats.org/officeDocument/2006/relationships/image" Target="../media/image66.jpeg"/><Relationship Id="rId127" Type="http://schemas.openxmlformats.org/officeDocument/2006/relationships/image" Target="../media/image74.png"/><Relationship Id="rId10" Type="http://schemas.openxmlformats.org/officeDocument/2006/relationships/tags" Target="../tags/tag326.xml"/><Relationship Id="rId31" Type="http://schemas.openxmlformats.org/officeDocument/2006/relationships/tags" Target="../tags/tag347.xml"/><Relationship Id="rId44" Type="http://schemas.openxmlformats.org/officeDocument/2006/relationships/tags" Target="../tags/tag360.xml"/><Relationship Id="rId52" Type="http://schemas.openxmlformats.org/officeDocument/2006/relationships/tags" Target="../tags/tag368.xml"/><Relationship Id="rId60" Type="http://schemas.openxmlformats.org/officeDocument/2006/relationships/tags" Target="../tags/tag376.xml"/><Relationship Id="rId65" Type="http://schemas.openxmlformats.org/officeDocument/2006/relationships/tags" Target="../tags/tag381.xml"/><Relationship Id="rId73" Type="http://schemas.openxmlformats.org/officeDocument/2006/relationships/tags" Target="../tags/tag389.xml"/><Relationship Id="rId78" Type="http://schemas.openxmlformats.org/officeDocument/2006/relationships/tags" Target="../tags/tag394.xml"/><Relationship Id="rId81" Type="http://schemas.openxmlformats.org/officeDocument/2006/relationships/tags" Target="../tags/tag397.xml"/><Relationship Id="rId86" Type="http://schemas.openxmlformats.org/officeDocument/2006/relationships/tags" Target="../tags/tag402.xml"/><Relationship Id="rId94" Type="http://schemas.openxmlformats.org/officeDocument/2006/relationships/tags" Target="../tags/tag410.xml"/><Relationship Id="rId99" Type="http://schemas.openxmlformats.org/officeDocument/2006/relationships/image" Target="../media/image46.png"/><Relationship Id="rId101" Type="http://schemas.openxmlformats.org/officeDocument/2006/relationships/image" Target="../media/image48.jpeg"/><Relationship Id="rId122" Type="http://schemas.openxmlformats.org/officeDocument/2006/relationships/image" Target="../media/image69.jpeg"/><Relationship Id="rId4" Type="http://schemas.openxmlformats.org/officeDocument/2006/relationships/tags" Target="../tags/tag320.xml"/><Relationship Id="rId9" Type="http://schemas.openxmlformats.org/officeDocument/2006/relationships/tags" Target="../tags/tag325.xml"/><Relationship Id="rId13" Type="http://schemas.openxmlformats.org/officeDocument/2006/relationships/tags" Target="../tags/tag329.xml"/><Relationship Id="rId18" Type="http://schemas.openxmlformats.org/officeDocument/2006/relationships/tags" Target="../tags/tag334.xml"/><Relationship Id="rId39" Type="http://schemas.openxmlformats.org/officeDocument/2006/relationships/tags" Target="../tags/tag355.xml"/><Relationship Id="rId109" Type="http://schemas.openxmlformats.org/officeDocument/2006/relationships/image" Target="../media/image56.png"/><Relationship Id="rId34" Type="http://schemas.openxmlformats.org/officeDocument/2006/relationships/tags" Target="../tags/tag350.xml"/><Relationship Id="rId50" Type="http://schemas.openxmlformats.org/officeDocument/2006/relationships/tags" Target="../tags/tag366.xml"/><Relationship Id="rId55" Type="http://schemas.openxmlformats.org/officeDocument/2006/relationships/tags" Target="../tags/tag371.xml"/><Relationship Id="rId76" Type="http://schemas.openxmlformats.org/officeDocument/2006/relationships/tags" Target="../tags/tag392.xml"/><Relationship Id="rId97" Type="http://schemas.openxmlformats.org/officeDocument/2006/relationships/image" Target="../media/image10.png"/><Relationship Id="rId104" Type="http://schemas.openxmlformats.org/officeDocument/2006/relationships/image" Target="../media/image51.png"/><Relationship Id="rId120" Type="http://schemas.openxmlformats.org/officeDocument/2006/relationships/image" Target="../media/image67.jpeg"/><Relationship Id="rId125" Type="http://schemas.openxmlformats.org/officeDocument/2006/relationships/image" Target="../media/image72.jpeg"/><Relationship Id="rId7" Type="http://schemas.openxmlformats.org/officeDocument/2006/relationships/tags" Target="../tags/tag323.xml"/><Relationship Id="rId71" Type="http://schemas.openxmlformats.org/officeDocument/2006/relationships/tags" Target="../tags/tag387.xml"/><Relationship Id="rId92" Type="http://schemas.openxmlformats.org/officeDocument/2006/relationships/tags" Target="../tags/tag408.xml"/><Relationship Id="rId2" Type="http://schemas.openxmlformats.org/officeDocument/2006/relationships/tags" Target="../tags/tag318.xml"/><Relationship Id="rId29" Type="http://schemas.openxmlformats.org/officeDocument/2006/relationships/tags" Target="../tags/tag345.xml"/><Relationship Id="rId24" Type="http://schemas.openxmlformats.org/officeDocument/2006/relationships/tags" Target="../tags/tag340.xml"/><Relationship Id="rId40" Type="http://schemas.openxmlformats.org/officeDocument/2006/relationships/tags" Target="../tags/tag356.xml"/><Relationship Id="rId45" Type="http://schemas.openxmlformats.org/officeDocument/2006/relationships/tags" Target="../tags/tag361.xml"/><Relationship Id="rId66" Type="http://schemas.openxmlformats.org/officeDocument/2006/relationships/tags" Target="../tags/tag382.xml"/><Relationship Id="rId87" Type="http://schemas.openxmlformats.org/officeDocument/2006/relationships/tags" Target="../tags/tag403.xml"/><Relationship Id="rId110" Type="http://schemas.openxmlformats.org/officeDocument/2006/relationships/image" Target="../media/image57.jpeg"/><Relationship Id="rId115" Type="http://schemas.openxmlformats.org/officeDocument/2006/relationships/image" Target="../media/image62.gif"/><Relationship Id="rId61" Type="http://schemas.openxmlformats.org/officeDocument/2006/relationships/tags" Target="../tags/tag377.xml"/><Relationship Id="rId82" Type="http://schemas.openxmlformats.org/officeDocument/2006/relationships/tags" Target="../tags/tag398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526.xml"/><Relationship Id="rId21" Type="http://schemas.openxmlformats.org/officeDocument/2006/relationships/tags" Target="../tags/tag430.xml"/><Relationship Id="rId42" Type="http://schemas.openxmlformats.org/officeDocument/2006/relationships/tags" Target="../tags/tag451.xml"/><Relationship Id="rId63" Type="http://schemas.openxmlformats.org/officeDocument/2006/relationships/tags" Target="../tags/tag472.xml"/><Relationship Id="rId84" Type="http://schemas.openxmlformats.org/officeDocument/2006/relationships/tags" Target="../tags/tag493.xml"/><Relationship Id="rId138" Type="http://schemas.openxmlformats.org/officeDocument/2006/relationships/tags" Target="../tags/tag547.xml"/><Relationship Id="rId159" Type="http://schemas.openxmlformats.org/officeDocument/2006/relationships/tags" Target="../tags/tag568.xml"/><Relationship Id="rId170" Type="http://schemas.openxmlformats.org/officeDocument/2006/relationships/tags" Target="../tags/tag579.xml"/><Relationship Id="rId191" Type="http://schemas.openxmlformats.org/officeDocument/2006/relationships/tags" Target="../tags/tag600.xml"/><Relationship Id="rId205" Type="http://schemas.openxmlformats.org/officeDocument/2006/relationships/tags" Target="../tags/tag614.xml"/><Relationship Id="rId226" Type="http://schemas.openxmlformats.org/officeDocument/2006/relationships/tags" Target="../tags/tag635.xml"/><Relationship Id="rId247" Type="http://schemas.openxmlformats.org/officeDocument/2006/relationships/tags" Target="../tags/tag656.xml"/><Relationship Id="rId107" Type="http://schemas.openxmlformats.org/officeDocument/2006/relationships/tags" Target="../tags/tag516.xml"/><Relationship Id="rId268" Type="http://schemas.openxmlformats.org/officeDocument/2006/relationships/image" Target="../media/image78.png"/><Relationship Id="rId11" Type="http://schemas.openxmlformats.org/officeDocument/2006/relationships/tags" Target="../tags/tag420.xml"/><Relationship Id="rId32" Type="http://schemas.openxmlformats.org/officeDocument/2006/relationships/tags" Target="../tags/tag441.xml"/><Relationship Id="rId53" Type="http://schemas.openxmlformats.org/officeDocument/2006/relationships/tags" Target="../tags/tag462.xml"/><Relationship Id="rId74" Type="http://schemas.openxmlformats.org/officeDocument/2006/relationships/tags" Target="../tags/tag483.xml"/><Relationship Id="rId128" Type="http://schemas.openxmlformats.org/officeDocument/2006/relationships/tags" Target="../tags/tag537.xml"/><Relationship Id="rId149" Type="http://schemas.openxmlformats.org/officeDocument/2006/relationships/tags" Target="../tags/tag558.xml"/><Relationship Id="rId5" Type="http://schemas.openxmlformats.org/officeDocument/2006/relationships/tags" Target="../tags/tag414.xml"/><Relationship Id="rId95" Type="http://schemas.openxmlformats.org/officeDocument/2006/relationships/tags" Target="../tags/tag504.xml"/><Relationship Id="rId160" Type="http://schemas.openxmlformats.org/officeDocument/2006/relationships/tags" Target="../tags/tag569.xml"/><Relationship Id="rId181" Type="http://schemas.openxmlformats.org/officeDocument/2006/relationships/tags" Target="../tags/tag590.xml"/><Relationship Id="rId216" Type="http://schemas.openxmlformats.org/officeDocument/2006/relationships/tags" Target="../tags/tag625.xml"/><Relationship Id="rId237" Type="http://schemas.openxmlformats.org/officeDocument/2006/relationships/tags" Target="../tags/tag646.xml"/><Relationship Id="rId258" Type="http://schemas.openxmlformats.org/officeDocument/2006/relationships/tags" Target="../tags/tag667.xml"/><Relationship Id="rId279" Type="http://schemas.openxmlformats.org/officeDocument/2006/relationships/image" Target="../media/image53.png"/><Relationship Id="rId22" Type="http://schemas.openxmlformats.org/officeDocument/2006/relationships/tags" Target="../tags/tag431.xml"/><Relationship Id="rId43" Type="http://schemas.openxmlformats.org/officeDocument/2006/relationships/tags" Target="../tags/tag452.xml"/><Relationship Id="rId64" Type="http://schemas.openxmlformats.org/officeDocument/2006/relationships/tags" Target="../tags/tag473.xml"/><Relationship Id="rId118" Type="http://schemas.openxmlformats.org/officeDocument/2006/relationships/tags" Target="../tags/tag527.xml"/><Relationship Id="rId139" Type="http://schemas.openxmlformats.org/officeDocument/2006/relationships/tags" Target="../tags/tag548.xml"/><Relationship Id="rId85" Type="http://schemas.openxmlformats.org/officeDocument/2006/relationships/tags" Target="../tags/tag494.xml"/><Relationship Id="rId150" Type="http://schemas.openxmlformats.org/officeDocument/2006/relationships/tags" Target="../tags/tag559.xml"/><Relationship Id="rId171" Type="http://schemas.openxmlformats.org/officeDocument/2006/relationships/tags" Target="../tags/tag580.xml"/><Relationship Id="rId192" Type="http://schemas.openxmlformats.org/officeDocument/2006/relationships/tags" Target="../tags/tag601.xml"/><Relationship Id="rId206" Type="http://schemas.openxmlformats.org/officeDocument/2006/relationships/tags" Target="../tags/tag615.xml"/><Relationship Id="rId227" Type="http://schemas.openxmlformats.org/officeDocument/2006/relationships/tags" Target="../tags/tag636.xml"/><Relationship Id="rId248" Type="http://schemas.openxmlformats.org/officeDocument/2006/relationships/tags" Target="../tags/tag657.xml"/><Relationship Id="rId269" Type="http://schemas.openxmlformats.org/officeDocument/2006/relationships/image" Target="../media/image52.png"/><Relationship Id="rId12" Type="http://schemas.openxmlformats.org/officeDocument/2006/relationships/tags" Target="../tags/tag421.xml"/><Relationship Id="rId33" Type="http://schemas.openxmlformats.org/officeDocument/2006/relationships/tags" Target="../tags/tag442.xml"/><Relationship Id="rId108" Type="http://schemas.openxmlformats.org/officeDocument/2006/relationships/tags" Target="../tags/tag517.xml"/><Relationship Id="rId129" Type="http://schemas.openxmlformats.org/officeDocument/2006/relationships/tags" Target="../tags/tag538.xml"/><Relationship Id="rId280" Type="http://schemas.openxmlformats.org/officeDocument/2006/relationships/image" Target="../media/image85.jpeg"/><Relationship Id="rId54" Type="http://schemas.openxmlformats.org/officeDocument/2006/relationships/tags" Target="../tags/tag463.xml"/><Relationship Id="rId75" Type="http://schemas.openxmlformats.org/officeDocument/2006/relationships/tags" Target="../tags/tag484.xml"/><Relationship Id="rId96" Type="http://schemas.openxmlformats.org/officeDocument/2006/relationships/tags" Target="../tags/tag505.xml"/><Relationship Id="rId140" Type="http://schemas.openxmlformats.org/officeDocument/2006/relationships/tags" Target="../tags/tag549.xml"/><Relationship Id="rId161" Type="http://schemas.openxmlformats.org/officeDocument/2006/relationships/tags" Target="../tags/tag570.xml"/><Relationship Id="rId182" Type="http://schemas.openxmlformats.org/officeDocument/2006/relationships/tags" Target="../tags/tag591.xml"/><Relationship Id="rId217" Type="http://schemas.openxmlformats.org/officeDocument/2006/relationships/tags" Target="../tags/tag626.xml"/><Relationship Id="rId6" Type="http://schemas.openxmlformats.org/officeDocument/2006/relationships/tags" Target="../tags/tag415.xml"/><Relationship Id="rId238" Type="http://schemas.openxmlformats.org/officeDocument/2006/relationships/tags" Target="../tags/tag647.xml"/><Relationship Id="rId259" Type="http://schemas.openxmlformats.org/officeDocument/2006/relationships/tags" Target="../tags/tag668.xml"/><Relationship Id="rId23" Type="http://schemas.openxmlformats.org/officeDocument/2006/relationships/tags" Target="../tags/tag432.xml"/><Relationship Id="rId119" Type="http://schemas.openxmlformats.org/officeDocument/2006/relationships/tags" Target="../tags/tag528.xml"/><Relationship Id="rId270" Type="http://schemas.openxmlformats.org/officeDocument/2006/relationships/image" Target="../media/image79.png"/><Relationship Id="rId44" Type="http://schemas.openxmlformats.org/officeDocument/2006/relationships/tags" Target="../tags/tag453.xml"/><Relationship Id="rId65" Type="http://schemas.openxmlformats.org/officeDocument/2006/relationships/tags" Target="../tags/tag474.xml"/><Relationship Id="rId86" Type="http://schemas.openxmlformats.org/officeDocument/2006/relationships/tags" Target="../tags/tag495.xml"/><Relationship Id="rId130" Type="http://schemas.openxmlformats.org/officeDocument/2006/relationships/tags" Target="../tags/tag539.xml"/><Relationship Id="rId151" Type="http://schemas.openxmlformats.org/officeDocument/2006/relationships/tags" Target="../tags/tag560.xml"/><Relationship Id="rId172" Type="http://schemas.openxmlformats.org/officeDocument/2006/relationships/tags" Target="../tags/tag581.xml"/><Relationship Id="rId193" Type="http://schemas.openxmlformats.org/officeDocument/2006/relationships/tags" Target="../tags/tag602.xml"/><Relationship Id="rId207" Type="http://schemas.openxmlformats.org/officeDocument/2006/relationships/tags" Target="../tags/tag616.xml"/><Relationship Id="rId228" Type="http://schemas.openxmlformats.org/officeDocument/2006/relationships/tags" Target="../tags/tag637.xml"/><Relationship Id="rId249" Type="http://schemas.openxmlformats.org/officeDocument/2006/relationships/tags" Target="../tags/tag658.xml"/><Relationship Id="rId13" Type="http://schemas.openxmlformats.org/officeDocument/2006/relationships/tags" Target="../tags/tag422.xml"/><Relationship Id="rId18" Type="http://schemas.openxmlformats.org/officeDocument/2006/relationships/tags" Target="../tags/tag427.xml"/><Relationship Id="rId39" Type="http://schemas.openxmlformats.org/officeDocument/2006/relationships/tags" Target="../tags/tag448.xml"/><Relationship Id="rId109" Type="http://schemas.openxmlformats.org/officeDocument/2006/relationships/tags" Target="../tags/tag518.xml"/><Relationship Id="rId260" Type="http://schemas.openxmlformats.org/officeDocument/2006/relationships/tags" Target="../tags/tag669.xml"/><Relationship Id="rId265" Type="http://schemas.openxmlformats.org/officeDocument/2006/relationships/image" Target="../media/image57.jpeg"/><Relationship Id="rId281" Type="http://schemas.openxmlformats.org/officeDocument/2006/relationships/image" Target="../media/image86.jpeg"/><Relationship Id="rId34" Type="http://schemas.openxmlformats.org/officeDocument/2006/relationships/tags" Target="../tags/tag443.xml"/><Relationship Id="rId50" Type="http://schemas.openxmlformats.org/officeDocument/2006/relationships/tags" Target="../tags/tag459.xml"/><Relationship Id="rId55" Type="http://schemas.openxmlformats.org/officeDocument/2006/relationships/tags" Target="../tags/tag464.xml"/><Relationship Id="rId76" Type="http://schemas.openxmlformats.org/officeDocument/2006/relationships/tags" Target="../tags/tag485.xml"/><Relationship Id="rId97" Type="http://schemas.openxmlformats.org/officeDocument/2006/relationships/tags" Target="../tags/tag506.xml"/><Relationship Id="rId104" Type="http://schemas.openxmlformats.org/officeDocument/2006/relationships/tags" Target="../tags/tag513.xml"/><Relationship Id="rId120" Type="http://schemas.openxmlformats.org/officeDocument/2006/relationships/tags" Target="../tags/tag529.xml"/><Relationship Id="rId125" Type="http://schemas.openxmlformats.org/officeDocument/2006/relationships/tags" Target="../tags/tag534.xml"/><Relationship Id="rId141" Type="http://schemas.openxmlformats.org/officeDocument/2006/relationships/tags" Target="../tags/tag550.xml"/><Relationship Id="rId146" Type="http://schemas.openxmlformats.org/officeDocument/2006/relationships/tags" Target="../tags/tag555.xml"/><Relationship Id="rId167" Type="http://schemas.openxmlformats.org/officeDocument/2006/relationships/tags" Target="../tags/tag576.xml"/><Relationship Id="rId188" Type="http://schemas.openxmlformats.org/officeDocument/2006/relationships/tags" Target="../tags/tag597.xml"/><Relationship Id="rId7" Type="http://schemas.openxmlformats.org/officeDocument/2006/relationships/tags" Target="../tags/tag416.xml"/><Relationship Id="rId71" Type="http://schemas.openxmlformats.org/officeDocument/2006/relationships/tags" Target="../tags/tag480.xml"/><Relationship Id="rId92" Type="http://schemas.openxmlformats.org/officeDocument/2006/relationships/tags" Target="../tags/tag501.xml"/><Relationship Id="rId162" Type="http://schemas.openxmlformats.org/officeDocument/2006/relationships/tags" Target="../tags/tag571.xml"/><Relationship Id="rId183" Type="http://schemas.openxmlformats.org/officeDocument/2006/relationships/tags" Target="../tags/tag592.xml"/><Relationship Id="rId213" Type="http://schemas.openxmlformats.org/officeDocument/2006/relationships/tags" Target="../tags/tag622.xml"/><Relationship Id="rId218" Type="http://schemas.openxmlformats.org/officeDocument/2006/relationships/tags" Target="../tags/tag627.xml"/><Relationship Id="rId234" Type="http://schemas.openxmlformats.org/officeDocument/2006/relationships/tags" Target="../tags/tag643.xml"/><Relationship Id="rId239" Type="http://schemas.openxmlformats.org/officeDocument/2006/relationships/tags" Target="../tags/tag648.xml"/><Relationship Id="rId2" Type="http://schemas.openxmlformats.org/officeDocument/2006/relationships/tags" Target="../tags/tag411.xml"/><Relationship Id="rId29" Type="http://schemas.openxmlformats.org/officeDocument/2006/relationships/tags" Target="../tags/tag438.xml"/><Relationship Id="rId250" Type="http://schemas.openxmlformats.org/officeDocument/2006/relationships/tags" Target="../tags/tag659.xml"/><Relationship Id="rId255" Type="http://schemas.openxmlformats.org/officeDocument/2006/relationships/tags" Target="../tags/tag664.xml"/><Relationship Id="rId271" Type="http://schemas.microsoft.com/office/2007/relationships/hdphoto" Target="../media/hdphoto4.wdp"/><Relationship Id="rId276" Type="http://schemas.openxmlformats.org/officeDocument/2006/relationships/image" Target="../media/image51.png"/><Relationship Id="rId24" Type="http://schemas.openxmlformats.org/officeDocument/2006/relationships/tags" Target="../tags/tag433.xml"/><Relationship Id="rId40" Type="http://schemas.openxmlformats.org/officeDocument/2006/relationships/tags" Target="../tags/tag449.xml"/><Relationship Id="rId45" Type="http://schemas.openxmlformats.org/officeDocument/2006/relationships/tags" Target="../tags/tag454.xml"/><Relationship Id="rId66" Type="http://schemas.openxmlformats.org/officeDocument/2006/relationships/tags" Target="../tags/tag475.xml"/><Relationship Id="rId87" Type="http://schemas.openxmlformats.org/officeDocument/2006/relationships/tags" Target="../tags/tag496.xml"/><Relationship Id="rId110" Type="http://schemas.openxmlformats.org/officeDocument/2006/relationships/tags" Target="../tags/tag519.xml"/><Relationship Id="rId115" Type="http://schemas.openxmlformats.org/officeDocument/2006/relationships/tags" Target="../tags/tag524.xml"/><Relationship Id="rId131" Type="http://schemas.openxmlformats.org/officeDocument/2006/relationships/tags" Target="../tags/tag540.xml"/><Relationship Id="rId136" Type="http://schemas.openxmlformats.org/officeDocument/2006/relationships/tags" Target="../tags/tag545.xml"/><Relationship Id="rId157" Type="http://schemas.openxmlformats.org/officeDocument/2006/relationships/tags" Target="../tags/tag566.xml"/><Relationship Id="rId178" Type="http://schemas.openxmlformats.org/officeDocument/2006/relationships/tags" Target="../tags/tag587.xml"/><Relationship Id="rId61" Type="http://schemas.openxmlformats.org/officeDocument/2006/relationships/tags" Target="../tags/tag470.xml"/><Relationship Id="rId82" Type="http://schemas.openxmlformats.org/officeDocument/2006/relationships/tags" Target="../tags/tag491.xml"/><Relationship Id="rId152" Type="http://schemas.openxmlformats.org/officeDocument/2006/relationships/tags" Target="../tags/tag561.xml"/><Relationship Id="rId173" Type="http://schemas.openxmlformats.org/officeDocument/2006/relationships/tags" Target="../tags/tag582.xml"/><Relationship Id="rId194" Type="http://schemas.openxmlformats.org/officeDocument/2006/relationships/tags" Target="../tags/tag603.xml"/><Relationship Id="rId199" Type="http://schemas.openxmlformats.org/officeDocument/2006/relationships/tags" Target="../tags/tag608.xml"/><Relationship Id="rId203" Type="http://schemas.openxmlformats.org/officeDocument/2006/relationships/tags" Target="../tags/tag612.xml"/><Relationship Id="rId208" Type="http://schemas.openxmlformats.org/officeDocument/2006/relationships/tags" Target="../tags/tag617.xml"/><Relationship Id="rId229" Type="http://schemas.openxmlformats.org/officeDocument/2006/relationships/tags" Target="../tags/tag638.xml"/><Relationship Id="rId19" Type="http://schemas.openxmlformats.org/officeDocument/2006/relationships/tags" Target="../tags/tag428.xml"/><Relationship Id="rId224" Type="http://schemas.openxmlformats.org/officeDocument/2006/relationships/tags" Target="../tags/tag633.xml"/><Relationship Id="rId240" Type="http://schemas.openxmlformats.org/officeDocument/2006/relationships/tags" Target="../tags/tag649.xml"/><Relationship Id="rId245" Type="http://schemas.openxmlformats.org/officeDocument/2006/relationships/tags" Target="../tags/tag654.xml"/><Relationship Id="rId261" Type="http://schemas.openxmlformats.org/officeDocument/2006/relationships/tags" Target="../tags/tag670.xml"/><Relationship Id="rId266" Type="http://schemas.openxmlformats.org/officeDocument/2006/relationships/image" Target="../media/image76.jpeg"/><Relationship Id="rId14" Type="http://schemas.openxmlformats.org/officeDocument/2006/relationships/tags" Target="../tags/tag423.xml"/><Relationship Id="rId30" Type="http://schemas.openxmlformats.org/officeDocument/2006/relationships/tags" Target="../tags/tag439.xml"/><Relationship Id="rId35" Type="http://schemas.openxmlformats.org/officeDocument/2006/relationships/tags" Target="../tags/tag444.xml"/><Relationship Id="rId56" Type="http://schemas.openxmlformats.org/officeDocument/2006/relationships/tags" Target="../tags/tag465.xml"/><Relationship Id="rId77" Type="http://schemas.openxmlformats.org/officeDocument/2006/relationships/tags" Target="../tags/tag486.xml"/><Relationship Id="rId100" Type="http://schemas.openxmlformats.org/officeDocument/2006/relationships/tags" Target="../tags/tag509.xml"/><Relationship Id="rId105" Type="http://schemas.openxmlformats.org/officeDocument/2006/relationships/tags" Target="../tags/tag514.xml"/><Relationship Id="rId126" Type="http://schemas.openxmlformats.org/officeDocument/2006/relationships/tags" Target="../tags/tag535.xml"/><Relationship Id="rId147" Type="http://schemas.openxmlformats.org/officeDocument/2006/relationships/tags" Target="../tags/tag556.xml"/><Relationship Id="rId168" Type="http://schemas.openxmlformats.org/officeDocument/2006/relationships/tags" Target="../tags/tag577.xml"/><Relationship Id="rId282" Type="http://schemas.openxmlformats.org/officeDocument/2006/relationships/image" Target="../media/image87.png"/><Relationship Id="rId8" Type="http://schemas.openxmlformats.org/officeDocument/2006/relationships/tags" Target="../tags/tag417.xml"/><Relationship Id="rId51" Type="http://schemas.openxmlformats.org/officeDocument/2006/relationships/tags" Target="../tags/tag460.xml"/><Relationship Id="rId72" Type="http://schemas.openxmlformats.org/officeDocument/2006/relationships/tags" Target="../tags/tag481.xml"/><Relationship Id="rId93" Type="http://schemas.openxmlformats.org/officeDocument/2006/relationships/tags" Target="../tags/tag502.xml"/><Relationship Id="rId98" Type="http://schemas.openxmlformats.org/officeDocument/2006/relationships/tags" Target="../tags/tag507.xml"/><Relationship Id="rId121" Type="http://schemas.openxmlformats.org/officeDocument/2006/relationships/tags" Target="../tags/tag530.xml"/><Relationship Id="rId142" Type="http://schemas.openxmlformats.org/officeDocument/2006/relationships/tags" Target="../tags/tag551.xml"/><Relationship Id="rId163" Type="http://schemas.openxmlformats.org/officeDocument/2006/relationships/tags" Target="../tags/tag572.xml"/><Relationship Id="rId184" Type="http://schemas.openxmlformats.org/officeDocument/2006/relationships/tags" Target="../tags/tag593.xml"/><Relationship Id="rId189" Type="http://schemas.openxmlformats.org/officeDocument/2006/relationships/tags" Target="../tags/tag598.xml"/><Relationship Id="rId219" Type="http://schemas.openxmlformats.org/officeDocument/2006/relationships/tags" Target="../tags/tag628.xml"/><Relationship Id="rId3" Type="http://schemas.openxmlformats.org/officeDocument/2006/relationships/tags" Target="../tags/tag412.xml"/><Relationship Id="rId214" Type="http://schemas.openxmlformats.org/officeDocument/2006/relationships/tags" Target="../tags/tag623.xml"/><Relationship Id="rId230" Type="http://schemas.openxmlformats.org/officeDocument/2006/relationships/tags" Target="../tags/tag639.xml"/><Relationship Id="rId235" Type="http://schemas.openxmlformats.org/officeDocument/2006/relationships/tags" Target="../tags/tag644.xml"/><Relationship Id="rId251" Type="http://schemas.openxmlformats.org/officeDocument/2006/relationships/tags" Target="../tags/tag660.xml"/><Relationship Id="rId256" Type="http://schemas.openxmlformats.org/officeDocument/2006/relationships/tags" Target="../tags/tag665.xml"/><Relationship Id="rId277" Type="http://schemas.openxmlformats.org/officeDocument/2006/relationships/image" Target="../media/image84.jpeg"/><Relationship Id="rId25" Type="http://schemas.openxmlformats.org/officeDocument/2006/relationships/tags" Target="../tags/tag434.xml"/><Relationship Id="rId46" Type="http://schemas.openxmlformats.org/officeDocument/2006/relationships/tags" Target="../tags/tag455.xml"/><Relationship Id="rId67" Type="http://schemas.openxmlformats.org/officeDocument/2006/relationships/tags" Target="../tags/tag476.xml"/><Relationship Id="rId116" Type="http://schemas.openxmlformats.org/officeDocument/2006/relationships/tags" Target="../tags/tag525.xml"/><Relationship Id="rId137" Type="http://schemas.openxmlformats.org/officeDocument/2006/relationships/tags" Target="../tags/tag546.xml"/><Relationship Id="rId158" Type="http://schemas.openxmlformats.org/officeDocument/2006/relationships/tags" Target="../tags/tag567.xml"/><Relationship Id="rId272" Type="http://schemas.openxmlformats.org/officeDocument/2006/relationships/image" Target="../media/image80.png"/><Relationship Id="rId20" Type="http://schemas.openxmlformats.org/officeDocument/2006/relationships/tags" Target="../tags/tag429.xml"/><Relationship Id="rId41" Type="http://schemas.openxmlformats.org/officeDocument/2006/relationships/tags" Target="../tags/tag450.xml"/><Relationship Id="rId62" Type="http://schemas.openxmlformats.org/officeDocument/2006/relationships/tags" Target="../tags/tag471.xml"/><Relationship Id="rId83" Type="http://schemas.openxmlformats.org/officeDocument/2006/relationships/tags" Target="../tags/tag492.xml"/><Relationship Id="rId88" Type="http://schemas.openxmlformats.org/officeDocument/2006/relationships/tags" Target="../tags/tag497.xml"/><Relationship Id="rId111" Type="http://schemas.openxmlformats.org/officeDocument/2006/relationships/tags" Target="../tags/tag520.xml"/><Relationship Id="rId132" Type="http://schemas.openxmlformats.org/officeDocument/2006/relationships/tags" Target="../tags/tag541.xml"/><Relationship Id="rId153" Type="http://schemas.openxmlformats.org/officeDocument/2006/relationships/tags" Target="../tags/tag562.xml"/><Relationship Id="rId174" Type="http://schemas.openxmlformats.org/officeDocument/2006/relationships/tags" Target="../tags/tag583.xml"/><Relationship Id="rId179" Type="http://schemas.openxmlformats.org/officeDocument/2006/relationships/tags" Target="../tags/tag588.xml"/><Relationship Id="rId195" Type="http://schemas.openxmlformats.org/officeDocument/2006/relationships/tags" Target="../tags/tag604.xml"/><Relationship Id="rId209" Type="http://schemas.openxmlformats.org/officeDocument/2006/relationships/tags" Target="../tags/tag618.xml"/><Relationship Id="rId190" Type="http://schemas.openxmlformats.org/officeDocument/2006/relationships/tags" Target="../tags/tag599.xml"/><Relationship Id="rId204" Type="http://schemas.openxmlformats.org/officeDocument/2006/relationships/tags" Target="../tags/tag613.xml"/><Relationship Id="rId220" Type="http://schemas.openxmlformats.org/officeDocument/2006/relationships/tags" Target="../tags/tag629.xml"/><Relationship Id="rId225" Type="http://schemas.openxmlformats.org/officeDocument/2006/relationships/tags" Target="../tags/tag634.xml"/><Relationship Id="rId241" Type="http://schemas.openxmlformats.org/officeDocument/2006/relationships/tags" Target="../tags/tag650.xml"/><Relationship Id="rId246" Type="http://schemas.openxmlformats.org/officeDocument/2006/relationships/tags" Target="../tags/tag655.xml"/><Relationship Id="rId267" Type="http://schemas.openxmlformats.org/officeDocument/2006/relationships/image" Target="../media/image77.jpeg"/><Relationship Id="rId15" Type="http://schemas.openxmlformats.org/officeDocument/2006/relationships/tags" Target="../tags/tag424.xml"/><Relationship Id="rId36" Type="http://schemas.openxmlformats.org/officeDocument/2006/relationships/tags" Target="../tags/tag445.xml"/><Relationship Id="rId57" Type="http://schemas.openxmlformats.org/officeDocument/2006/relationships/tags" Target="../tags/tag466.xml"/><Relationship Id="rId106" Type="http://schemas.openxmlformats.org/officeDocument/2006/relationships/tags" Target="../tags/tag515.xml"/><Relationship Id="rId127" Type="http://schemas.openxmlformats.org/officeDocument/2006/relationships/tags" Target="../tags/tag536.xml"/><Relationship Id="rId262" Type="http://schemas.openxmlformats.org/officeDocument/2006/relationships/slideLayout" Target="../slideLayouts/slideLayout3.xml"/><Relationship Id="rId283" Type="http://schemas.openxmlformats.org/officeDocument/2006/relationships/image" Target="../media/image88.jpeg"/><Relationship Id="rId10" Type="http://schemas.openxmlformats.org/officeDocument/2006/relationships/tags" Target="../tags/tag419.xml"/><Relationship Id="rId31" Type="http://schemas.openxmlformats.org/officeDocument/2006/relationships/tags" Target="../tags/tag440.xml"/><Relationship Id="rId52" Type="http://schemas.openxmlformats.org/officeDocument/2006/relationships/tags" Target="../tags/tag461.xml"/><Relationship Id="rId73" Type="http://schemas.openxmlformats.org/officeDocument/2006/relationships/tags" Target="../tags/tag482.xml"/><Relationship Id="rId78" Type="http://schemas.openxmlformats.org/officeDocument/2006/relationships/tags" Target="../tags/tag487.xml"/><Relationship Id="rId94" Type="http://schemas.openxmlformats.org/officeDocument/2006/relationships/tags" Target="../tags/tag503.xml"/><Relationship Id="rId99" Type="http://schemas.openxmlformats.org/officeDocument/2006/relationships/tags" Target="../tags/tag508.xml"/><Relationship Id="rId101" Type="http://schemas.openxmlformats.org/officeDocument/2006/relationships/tags" Target="../tags/tag510.xml"/><Relationship Id="rId122" Type="http://schemas.openxmlformats.org/officeDocument/2006/relationships/tags" Target="../tags/tag531.xml"/><Relationship Id="rId143" Type="http://schemas.openxmlformats.org/officeDocument/2006/relationships/tags" Target="../tags/tag552.xml"/><Relationship Id="rId148" Type="http://schemas.openxmlformats.org/officeDocument/2006/relationships/tags" Target="../tags/tag557.xml"/><Relationship Id="rId164" Type="http://schemas.openxmlformats.org/officeDocument/2006/relationships/tags" Target="../tags/tag573.xml"/><Relationship Id="rId169" Type="http://schemas.openxmlformats.org/officeDocument/2006/relationships/tags" Target="../tags/tag578.xml"/><Relationship Id="rId185" Type="http://schemas.openxmlformats.org/officeDocument/2006/relationships/tags" Target="../tags/tag594.xml"/><Relationship Id="rId4" Type="http://schemas.openxmlformats.org/officeDocument/2006/relationships/tags" Target="../tags/tag413.xml"/><Relationship Id="rId9" Type="http://schemas.openxmlformats.org/officeDocument/2006/relationships/tags" Target="../tags/tag418.xml"/><Relationship Id="rId180" Type="http://schemas.openxmlformats.org/officeDocument/2006/relationships/tags" Target="../tags/tag589.xml"/><Relationship Id="rId210" Type="http://schemas.openxmlformats.org/officeDocument/2006/relationships/tags" Target="../tags/tag619.xml"/><Relationship Id="rId215" Type="http://schemas.openxmlformats.org/officeDocument/2006/relationships/tags" Target="../tags/tag624.xml"/><Relationship Id="rId236" Type="http://schemas.openxmlformats.org/officeDocument/2006/relationships/tags" Target="../tags/tag645.xml"/><Relationship Id="rId257" Type="http://schemas.openxmlformats.org/officeDocument/2006/relationships/tags" Target="../tags/tag666.xml"/><Relationship Id="rId278" Type="http://schemas.openxmlformats.org/officeDocument/2006/relationships/image" Target="../media/image59.png"/><Relationship Id="rId26" Type="http://schemas.openxmlformats.org/officeDocument/2006/relationships/tags" Target="../tags/tag435.xml"/><Relationship Id="rId231" Type="http://schemas.openxmlformats.org/officeDocument/2006/relationships/tags" Target="../tags/tag640.xml"/><Relationship Id="rId252" Type="http://schemas.openxmlformats.org/officeDocument/2006/relationships/tags" Target="../tags/tag661.xml"/><Relationship Id="rId273" Type="http://schemas.openxmlformats.org/officeDocument/2006/relationships/image" Target="../media/image81.png"/><Relationship Id="rId47" Type="http://schemas.openxmlformats.org/officeDocument/2006/relationships/tags" Target="../tags/tag456.xml"/><Relationship Id="rId68" Type="http://schemas.openxmlformats.org/officeDocument/2006/relationships/tags" Target="../tags/tag477.xml"/><Relationship Id="rId89" Type="http://schemas.openxmlformats.org/officeDocument/2006/relationships/tags" Target="../tags/tag498.xml"/><Relationship Id="rId112" Type="http://schemas.openxmlformats.org/officeDocument/2006/relationships/tags" Target="../tags/tag521.xml"/><Relationship Id="rId133" Type="http://schemas.openxmlformats.org/officeDocument/2006/relationships/tags" Target="../tags/tag542.xml"/><Relationship Id="rId154" Type="http://schemas.openxmlformats.org/officeDocument/2006/relationships/tags" Target="../tags/tag563.xml"/><Relationship Id="rId175" Type="http://schemas.openxmlformats.org/officeDocument/2006/relationships/tags" Target="../tags/tag584.xml"/><Relationship Id="rId196" Type="http://schemas.openxmlformats.org/officeDocument/2006/relationships/tags" Target="../tags/tag605.xml"/><Relationship Id="rId200" Type="http://schemas.openxmlformats.org/officeDocument/2006/relationships/tags" Target="../tags/tag609.xml"/><Relationship Id="rId16" Type="http://schemas.openxmlformats.org/officeDocument/2006/relationships/tags" Target="../tags/tag425.xml"/><Relationship Id="rId221" Type="http://schemas.openxmlformats.org/officeDocument/2006/relationships/tags" Target="../tags/tag630.xml"/><Relationship Id="rId242" Type="http://schemas.openxmlformats.org/officeDocument/2006/relationships/tags" Target="../tags/tag651.xml"/><Relationship Id="rId263" Type="http://schemas.openxmlformats.org/officeDocument/2006/relationships/oleObject" Target="../embeddings/oleObject28.bin"/><Relationship Id="rId37" Type="http://schemas.openxmlformats.org/officeDocument/2006/relationships/tags" Target="../tags/tag446.xml"/><Relationship Id="rId58" Type="http://schemas.openxmlformats.org/officeDocument/2006/relationships/tags" Target="../tags/tag467.xml"/><Relationship Id="rId79" Type="http://schemas.openxmlformats.org/officeDocument/2006/relationships/tags" Target="../tags/tag488.xml"/><Relationship Id="rId102" Type="http://schemas.openxmlformats.org/officeDocument/2006/relationships/tags" Target="../tags/tag511.xml"/><Relationship Id="rId123" Type="http://schemas.openxmlformats.org/officeDocument/2006/relationships/tags" Target="../tags/tag532.xml"/><Relationship Id="rId144" Type="http://schemas.openxmlformats.org/officeDocument/2006/relationships/tags" Target="../tags/tag553.xml"/><Relationship Id="rId90" Type="http://schemas.openxmlformats.org/officeDocument/2006/relationships/tags" Target="../tags/tag499.xml"/><Relationship Id="rId165" Type="http://schemas.openxmlformats.org/officeDocument/2006/relationships/tags" Target="../tags/tag574.xml"/><Relationship Id="rId186" Type="http://schemas.openxmlformats.org/officeDocument/2006/relationships/tags" Target="../tags/tag595.xml"/><Relationship Id="rId211" Type="http://schemas.openxmlformats.org/officeDocument/2006/relationships/tags" Target="../tags/tag620.xml"/><Relationship Id="rId232" Type="http://schemas.openxmlformats.org/officeDocument/2006/relationships/tags" Target="../tags/tag641.xml"/><Relationship Id="rId253" Type="http://schemas.openxmlformats.org/officeDocument/2006/relationships/tags" Target="../tags/tag662.xml"/><Relationship Id="rId274" Type="http://schemas.openxmlformats.org/officeDocument/2006/relationships/image" Target="../media/image82.png"/><Relationship Id="rId27" Type="http://schemas.openxmlformats.org/officeDocument/2006/relationships/tags" Target="../tags/tag436.xml"/><Relationship Id="rId48" Type="http://schemas.openxmlformats.org/officeDocument/2006/relationships/tags" Target="../tags/tag457.xml"/><Relationship Id="rId69" Type="http://schemas.openxmlformats.org/officeDocument/2006/relationships/tags" Target="../tags/tag478.xml"/><Relationship Id="rId113" Type="http://schemas.openxmlformats.org/officeDocument/2006/relationships/tags" Target="../tags/tag522.xml"/><Relationship Id="rId134" Type="http://schemas.openxmlformats.org/officeDocument/2006/relationships/tags" Target="../tags/tag543.xml"/><Relationship Id="rId80" Type="http://schemas.openxmlformats.org/officeDocument/2006/relationships/tags" Target="../tags/tag489.xml"/><Relationship Id="rId155" Type="http://schemas.openxmlformats.org/officeDocument/2006/relationships/tags" Target="../tags/tag564.xml"/><Relationship Id="rId176" Type="http://schemas.openxmlformats.org/officeDocument/2006/relationships/tags" Target="../tags/tag585.xml"/><Relationship Id="rId197" Type="http://schemas.openxmlformats.org/officeDocument/2006/relationships/tags" Target="../tags/tag606.xml"/><Relationship Id="rId201" Type="http://schemas.openxmlformats.org/officeDocument/2006/relationships/tags" Target="../tags/tag610.xml"/><Relationship Id="rId222" Type="http://schemas.openxmlformats.org/officeDocument/2006/relationships/tags" Target="../tags/tag631.xml"/><Relationship Id="rId243" Type="http://schemas.openxmlformats.org/officeDocument/2006/relationships/tags" Target="../tags/tag652.xml"/><Relationship Id="rId264" Type="http://schemas.openxmlformats.org/officeDocument/2006/relationships/image" Target="../media/image75.emf"/><Relationship Id="rId17" Type="http://schemas.openxmlformats.org/officeDocument/2006/relationships/tags" Target="../tags/tag426.xml"/><Relationship Id="rId38" Type="http://schemas.openxmlformats.org/officeDocument/2006/relationships/tags" Target="../tags/tag447.xml"/><Relationship Id="rId59" Type="http://schemas.openxmlformats.org/officeDocument/2006/relationships/tags" Target="../tags/tag468.xml"/><Relationship Id="rId103" Type="http://schemas.openxmlformats.org/officeDocument/2006/relationships/tags" Target="../tags/tag512.xml"/><Relationship Id="rId124" Type="http://schemas.openxmlformats.org/officeDocument/2006/relationships/tags" Target="../tags/tag533.xml"/><Relationship Id="rId70" Type="http://schemas.openxmlformats.org/officeDocument/2006/relationships/tags" Target="../tags/tag479.xml"/><Relationship Id="rId91" Type="http://schemas.openxmlformats.org/officeDocument/2006/relationships/tags" Target="../tags/tag500.xml"/><Relationship Id="rId145" Type="http://schemas.openxmlformats.org/officeDocument/2006/relationships/tags" Target="../tags/tag554.xml"/><Relationship Id="rId166" Type="http://schemas.openxmlformats.org/officeDocument/2006/relationships/tags" Target="../tags/tag575.xml"/><Relationship Id="rId187" Type="http://schemas.openxmlformats.org/officeDocument/2006/relationships/tags" Target="../tags/tag596.xml"/><Relationship Id="rId1" Type="http://schemas.openxmlformats.org/officeDocument/2006/relationships/vmlDrawing" Target="../drawings/vmlDrawing28.vml"/><Relationship Id="rId212" Type="http://schemas.openxmlformats.org/officeDocument/2006/relationships/tags" Target="../tags/tag621.xml"/><Relationship Id="rId233" Type="http://schemas.openxmlformats.org/officeDocument/2006/relationships/tags" Target="../tags/tag642.xml"/><Relationship Id="rId254" Type="http://schemas.openxmlformats.org/officeDocument/2006/relationships/tags" Target="../tags/tag663.xml"/><Relationship Id="rId28" Type="http://schemas.openxmlformats.org/officeDocument/2006/relationships/tags" Target="../tags/tag437.xml"/><Relationship Id="rId49" Type="http://schemas.openxmlformats.org/officeDocument/2006/relationships/tags" Target="../tags/tag458.xml"/><Relationship Id="rId114" Type="http://schemas.openxmlformats.org/officeDocument/2006/relationships/tags" Target="../tags/tag523.xml"/><Relationship Id="rId275" Type="http://schemas.openxmlformats.org/officeDocument/2006/relationships/image" Target="../media/image83.png"/><Relationship Id="rId60" Type="http://schemas.openxmlformats.org/officeDocument/2006/relationships/tags" Target="../tags/tag469.xml"/><Relationship Id="rId81" Type="http://schemas.openxmlformats.org/officeDocument/2006/relationships/tags" Target="../tags/tag490.xml"/><Relationship Id="rId135" Type="http://schemas.openxmlformats.org/officeDocument/2006/relationships/tags" Target="../tags/tag544.xml"/><Relationship Id="rId156" Type="http://schemas.openxmlformats.org/officeDocument/2006/relationships/tags" Target="../tags/tag565.xml"/><Relationship Id="rId177" Type="http://schemas.openxmlformats.org/officeDocument/2006/relationships/tags" Target="../tags/tag586.xml"/><Relationship Id="rId198" Type="http://schemas.openxmlformats.org/officeDocument/2006/relationships/tags" Target="../tags/tag607.xml"/><Relationship Id="rId202" Type="http://schemas.openxmlformats.org/officeDocument/2006/relationships/tags" Target="../tags/tag611.xml"/><Relationship Id="rId223" Type="http://schemas.openxmlformats.org/officeDocument/2006/relationships/tags" Target="../tags/tag632.xml"/><Relationship Id="rId244" Type="http://schemas.openxmlformats.org/officeDocument/2006/relationships/tags" Target="../tags/tag653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682.xml"/><Relationship Id="rId18" Type="http://schemas.openxmlformats.org/officeDocument/2006/relationships/tags" Target="../tags/tag687.xml"/><Relationship Id="rId26" Type="http://schemas.openxmlformats.org/officeDocument/2006/relationships/tags" Target="../tags/tag695.xml"/><Relationship Id="rId39" Type="http://schemas.openxmlformats.org/officeDocument/2006/relationships/image" Target="../media/image89.jpeg"/><Relationship Id="rId21" Type="http://schemas.openxmlformats.org/officeDocument/2006/relationships/tags" Target="../tags/tag690.xml"/><Relationship Id="rId34" Type="http://schemas.openxmlformats.org/officeDocument/2006/relationships/tags" Target="../tags/tag703.xml"/><Relationship Id="rId42" Type="http://schemas.openxmlformats.org/officeDocument/2006/relationships/image" Target="../media/image92.png"/><Relationship Id="rId47" Type="http://schemas.microsoft.com/office/2007/relationships/hdphoto" Target="../media/hdphoto7.wdp"/><Relationship Id="rId50" Type="http://schemas.openxmlformats.org/officeDocument/2006/relationships/image" Target="../media/image96.jpeg"/><Relationship Id="rId55" Type="http://schemas.openxmlformats.org/officeDocument/2006/relationships/image" Target="../media/image84.jpeg"/><Relationship Id="rId7" Type="http://schemas.openxmlformats.org/officeDocument/2006/relationships/tags" Target="../tags/tag676.xml"/><Relationship Id="rId2" Type="http://schemas.openxmlformats.org/officeDocument/2006/relationships/tags" Target="../tags/tag671.xml"/><Relationship Id="rId16" Type="http://schemas.openxmlformats.org/officeDocument/2006/relationships/tags" Target="../tags/tag685.xml"/><Relationship Id="rId20" Type="http://schemas.openxmlformats.org/officeDocument/2006/relationships/tags" Target="../tags/tag689.xml"/><Relationship Id="rId29" Type="http://schemas.openxmlformats.org/officeDocument/2006/relationships/tags" Target="../tags/tag698.xml"/><Relationship Id="rId41" Type="http://schemas.openxmlformats.org/officeDocument/2006/relationships/image" Target="../media/image91.jpeg"/><Relationship Id="rId54" Type="http://schemas.openxmlformats.org/officeDocument/2006/relationships/image" Target="../media/image81.png"/><Relationship Id="rId62" Type="http://schemas.openxmlformats.org/officeDocument/2006/relationships/image" Target="../media/image101.jpeg"/><Relationship Id="rId1" Type="http://schemas.openxmlformats.org/officeDocument/2006/relationships/vmlDrawing" Target="../drawings/vmlDrawing29.vml"/><Relationship Id="rId6" Type="http://schemas.openxmlformats.org/officeDocument/2006/relationships/tags" Target="../tags/tag675.xml"/><Relationship Id="rId11" Type="http://schemas.openxmlformats.org/officeDocument/2006/relationships/tags" Target="../tags/tag680.xml"/><Relationship Id="rId24" Type="http://schemas.openxmlformats.org/officeDocument/2006/relationships/tags" Target="../tags/tag693.xml"/><Relationship Id="rId32" Type="http://schemas.openxmlformats.org/officeDocument/2006/relationships/tags" Target="../tags/tag701.xml"/><Relationship Id="rId37" Type="http://schemas.openxmlformats.org/officeDocument/2006/relationships/image" Target="../media/image75.emf"/><Relationship Id="rId40" Type="http://schemas.openxmlformats.org/officeDocument/2006/relationships/image" Target="../media/image90.jpeg"/><Relationship Id="rId45" Type="http://schemas.microsoft.com/office/2007/relationships/hdphoto" Target="../media/hdphoto6.wdp"/><Relationship Id="rId53" Type="http://schemas.openxmlformats.org/officeDocument/2006/relationships/image" Target="../media/image97.png"/><Relationship Id="rId58" Type="http://schemas.openxmlformats.org/officeDocument/2006/relationships/image" Target="../media/image98.png"/><Relationship Id="rId5" Type="http://schemas.openxmlformats.org/officeDocument/2006/relationships/tags" Target="../tags/tag674.xml"/><Relationship Id="rId15" Type="http://schemas.openxmlformats.org/officeDocument/2006/relationships/tags" Target="../tags/tag684.xml"/><Relationship Id="rId23" Type="http://schemas.openxmlformats.org/officeDocument/2006/relationships/tags" Target="../tags/tag692.xml"/><Relationship Id="rId28" Type="http://schemas.openxmlformats.org/officeDocument/2006/relationships/tags" Target="../tags/tag697.xml"/><Relationship Id="rId36" Type="http://schemas.openxmlformats.org/officeDocument/2006/relationships/oleObject" Target="../embeddings/oleObject29.bin"/><Relationship Id="rId49" Type="http://schemas.microsoft.com/office/2007/relationships/hdphoto" Target="../media/hdphoto8.wdp"/><Relationship Id="rId57" Type="http://schemas.openxmlformats.org/officeDocument/2006/relationships/image" Target="../media/image53.png"/><Relationship Id="rId61" Type="http://schemas.openxmlformats.org/officeDocument/2006/relationships/image" Target="../media/image100.jpeg"/><Relationship Id="rId10" Type="http://schemas.openxmlformats.org/officeDocument/2006/relationships/tags" Target="../tags/tag679.xml"/><Relationship Id="rId19" Type="http://schemas.openxmlformats.org/officeDocument/2006/relationships/tags" Target="../tags/tag688.xml"/><Relationship Id="rId31" Type="http://schemas.openxmlformats.org/officeDocument/2006/relationships/tags" Target="../tags/tag700.xml"/><Relationship Id="rId44" Type="http://schemas.openxmlformats.org/officeDocument/2006/relationships/image" Target="../media/image93.png"/><Relationship Id="rId52" Type="http://schemas.openxmlformats.org/officeDocument/2006/relationships/image" Target="../media/image77.jpeg"/><Relationship Id="rId60" Type="http://schemas.openxmlformats.org/officeDocument/2006/relationships/image" Target="../media/image99.png"/><Relationship Id="rId4" Type="http://schemas.openxmlformats.org/officeDocument/2006/relationships/tags" Target="../tags/tag673.xml"/><Relationship Id="rId9" Type="http://schemas.openxmlformats.org/officeDocument/2006/relationships/tags" Target="../tags/tag678.xml"/><Relationship Id="rId14" Type="http://schemas.openxmlformats.org/officeDocument/2006/relationships/tags" Target="../tags/tag683.xml"/><Relationship Id="rId22" Type="http://schemas.openxmlformats.org/officeDocument/2006/relationships/tags" Target="../tags/tag691.xml"/><Relationship Id="rId27" Type="http://schemas.openxmlformats.org/officeDocument/2006/relationships/tags" Target="../tags/tag696.xml"/><Relationship Id="rId30" Type="http://schemas.openxmlformats.org/officeDocument/2006/relationships/tags" Target="../tags/tag699.xml"/><Relationship Id="rId35" Type="http://schemas.openxmlformats.org/officeDocument/2006/relationships/slideLayout" Target="../slideLayouts/slideLayout17.xml"/><Relationship Id="rId43" Type="http://schemas.microsoft.com/office/2007/relationships/hdphoto" Target="../media/hdphoto5.wdp"/><Relationship Id="rId48" Type="http://schemas.openxmlformats.org/officeDocument/2006/relationships/image" Target="../media/image95.png"/><Relationship Id="rId56" Type="http://schemas.openxmlformats.org/officeDocument/2006/relationships/image" Target="../media/image52.png"/><Relationship Id="rId8" Type="http://schemas.openxmlformats.org/officeDocument/2006/relationships/tags" Target="../tags/tag677.xml"/><Relationship Id="rId51" Type="http://schemas.openxmlformats.org/officeDocument/2006/relationships/image" Target="../media/image76.jpeg"/><Relationship Id="rId3" Type="http://schemas.openxmlformats.org/officeDocument/2006/relationships/tags" Target="../tags/tag672.xml"/><Relationship Id="rId12" Type="http://schemas.openxmlformats.org/officeDocument/2006/relationships/tags" Target="../tags/tag681.xml"/><Relationship Id="rId17" Type="http://schemas.openxmlformats.org/officeDocument/2006/relationships/tags" Target="../tags/tag686.xml"/><Relationship Id="rId25" Type="http://schemas.openxmlformats.org/officeDocument/2006/relationships/tags" Target="../tags/tag694.xml"/><Relationship Id="rId33" Type="http://schemas.openxmlformats.org/officeDocument/2006/relationships/tags" Target="../tags/tag702.xml"/><Relationship Id="rId38" Type="http://schemas.openxmlformats.org/officeDocument/2006/relationships/image" Target="../media/image10.png"/><Relationship Id="rId46" Type="http://schemas.openxmlformats.org/officeDocument/2006/relationships/image" Target="../media/image94.png"/><Relationship Id="rId59" Type="http://schemas.openxmlformats.org/officeDocument/2006/relationships/image" Target="../media/image51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716.xml"/><Relationship Id="rId18" Type="http://schemas.openxmlformats.org/officeDocument/2006/relationships/tags" Target="../tags/tag721.xml"/><Relationship Id="rId26" Type="http://schemas.openxmlformats.org/officeDocument/2006/relationships/tags" Target="../tags/tag729.xml"/><Relationship Id="rId39" Type="http://schemas.openxmlformats.org/officeDocument/2006/relationships/tags" Target="../tags/tag742.xml"/><Relationship Id="rId21" Type="http://schemas.openxmlformats.org/officeDocument/2006/relationships/tags" Target="../tags/tag724.xml"/><Relationship Id="rId34" Type="http://schemas.openxmlformats.org/officeDocument/2006/relationships/tags" Target="../tags/tag737.xml"/><Relationship Id="rId42" Type="http://schemas.openxmlformats.org/officeDocument/2006/relationships/tags" Target="../tags/tag745.xml"/><Relationship Id="rId47" Type="http://schemas.openxmlformats.org/officeDocument/2006/relationships/tags" Target="../tags/tag750.xml"/><Relationship Id="rId50" Type="http://schemas.openxmlformats.org/officeDocument/2006/relationships/tags" Target="../tags/tag753.xml"/><Relationship Id="rId55" Type="http://schemas.openxmlformats.org/officeDocument/2006/relationships/tags" Target="../tags/tag758.xml"/><Relationship Id="rId7" Type="http://schemas.openxmlformats.org/officeDocument/2006/relationships/tags" Target="../tags/tag710.xml"/><Relationship Id="rId12" Type="http://schemas.openxmlformats.org/officeDocument/2006/relationships/tags" Target="../tags/tag715.xml"/><Relationship Id="rId17" Type="http://schemas.openxmlformats.org/officeDocument/2006/relationships/tags" Target="../tags/tag720.xml"/><Relationship Id="rId25" Type="http://schemas.openxmlformats.org/officeDocument/2006/relationships/tags" Target="../tags/tag728.xml"/><Relationship Id="rId33" Type="http://schemas.openxmlformats.org/officeDocument/2006/relationships/tags" Target="../tags/tag736.xml"/><Relationship Id="rId38" Type="http://schemas.openxmlformats.org/officeDocument/2006/relationships/tags" Target="../tags/tag741.xml"/><Relationship Id="rId46" Type="http://schemas.openxmlformats.org/officeDocument/2006/relationships/tags" Target="../tags/tag749.xml"/><Relationship Id="rId2" Type="http://schemas.openxmlformats.org/officeDocument/2006/relationships/tags" Target="../tags/tag705.xml"/><Relationship Id="rId16" Type="http://schemas.openxmlformats.org/officeDocument/2006/relationships/tags" Target="../tags/tag719.xml"/><Relationship Id="rId20" Type="http://schemas.openxmlformats.org/officeDocument/2006/relationships/tags" Target="../tags/tag723.xml"/><Relationship Id="rId29" Type="http://schemas.openxmlformats.org/officeDocument/2006/relationships/tags" Target="../tags/tag732.xml"/><Relationship Id="rId41" Type="http://schemas.openxmlformats.org/officeDocument/2006/relationships/tags" Target="../tags/tag744.xml"/><Relationship Id="rId54" Type="http://schemas.openxmlformats.org/officeDocument/2006/relationships/tags" Target="../tags/tag757.xml"/><Relationship Id="rId1" Type="http://schemas.openxmlformats.org/officeDocument/2006/relationships/tags" Target="../tags/tag704.xml"/><Relationship Id="rId6" Type="http://schemas.openxmlformats.org/officeDocument/2006/relationships/tags" Target="../tags/tag709.xml"/><Relationship Id="rId11" Type="http://schemas.openxmlformats.org/officeDocument/2006/relationships/tags" Target="../tags/tag714.xml"/><Relationship Id="rId24" Type="http://schemas.openxmlformats.org/officeDocument/2006/relationships/tags" Target="../tags/tag727.xml"/><Relationship Id="rId32" Type="http://schemas.openxmlformats.org/officeDocument/2006/relationships/tags" Target="../tags/tag735.xml"/><Relationship Id="rId37" Type="http://schemas.openxmlformats.org/officeDocument/2006/relationships/tags" Target="../tags/tag740.xml"/><Relationship Id="rId40" Type="http://schemas.openxmlformats.org/officeDocument/2006/relationships/tags" Target="../tags/tag743.xml"/><Relationship Id="rId45" Type="http://schemas.openxmlformats.org/officeDocument/2006/relationships/tags" Target="../tags/tag748.xml"/><Relationship Id="rId53" Type="http://schemas.openxmlformats.org/officeDocument/2006/relationships/tags" Target="../tags/tag756.xml"/><Relationship Id="rId5" Type="http://schemas.openxmlformats.org/officeDocument/2006/relationships/tags" Target="../tags/tag708.xml"/><Relationship Id="rId15" Type="http://schemas.openxmlformats.org/officeDocument/2006/relationships/tags" Target="../tags/tag718.xml"/><Relationship Id="rId23" Type="http://schemas.openxmlformats.org/officeDocument/2006/relationships/tags" Target="../tags/tag726.xml"/><Relationship Id="rId28" Type="http://schemas.openxmlformats.org/officeDocument/2006/relationships/tags" Target="../tags/tag731.xml"/><Relationship Id="rId36" Type="http://schemas.openxmlformats.org/officeDocument/2006/relationships/tags" Target="../tags/tag739.xml"/><Relationship Id="rId49" Type="http://schemas.openxmlformats.org/officeDocument/2006/relationships/tags" Target="../tags/tag752.xml"/><Relationship Id="rId10" Type="http://schemas.openxmlformats.org/officeDocument/2006/relationships/tags" Target="../tags/tag713.xml"/><Relationship Id="rId19" Type="http://schemas.openxmlformats.org/officeDocument/2006/relationships/tags" Target="../tags/tag722.xml"/><Relationship Id="rId31" Type="http://schemas.openxmlformats.org/officeDocument/2006/relationships/tags" Target="../tags/tag734.xml"/><Relationship Id="rId44" Type="http://schemas.openxmlformats.org/officeDocument/2006/relationships/tags" Target="../tags/tag747.xml"/><Relationship Id="rId52" Type="http://schemas.openxmlformats.org/officeDocument/2006/relationships/tags" Target="../tags/tag755.xml"/><Relationship Id="rId4" Type="http://schemas.openxmlformats.org/officeDocument/2006/relationships/tags" Target="../tags/tag707.xml"/><Relationship Id="rId9" Type="http://schemas.openxmlformats.org/officeDocument/2006/relationships/tags" Target="../tags/tag712.xml"/><Relationship Id="rId14" Type="http://schemas.openxmlformats.org/officeDocument/2006/relationships/tags" Target="../tags/tag717.xml"/><Relationship Id="rId22" Type="http://schemas.openxmlformats.org/officeDocument/2006/relationships/tags" Target="../tags/tag725.xml"/><Relationship Id="rId27" Type="http://schemas.openxmlformats.org/officeDocument/2006/relationships/tags" Target="../tags/tag730.xml"/><Relationship Id="rId30" Type="http://schemas.openxmlformats.org/officeDocument/2006/relationships/tags" Target="../tags/tag733.xml"/><Relationship Id="rId35" Type="http://schemas.openxmlformats.org/officeDocument/2006/relationships/tags" Target="../tags/tag738.xml"/><Relationship Id="rId43" Type="http://schemas.openxmlformats.org/officeDocument/2006/relationships/tags" Target="../tags/tag746.xml"/><Relationship Id="rId48" Type="http://schemas.openxmlformats.org/officeDocument/2006/relationships/tags" Target="../tags/tag751.xml"/><Relationship Id="rId56" Type="http://schemas.openxmlformats.org/officeDocument/2006/relationships/slideLayout" Target="../slideLayouts/slideLayout17.xml"/><Relationship Id="rId8" Type="http://schemas.openxmlformats.org/officeDocument/2006/relationships/tags" Target="../tags/tag711.xml"/><Relationship Id="rId51" Type="http://schemas.openxmlformats.org/officeDocument/2006/relationships/tags" Target="../tags/tag754.xml"/><Relationship Id="rId3" Type="http://schemas.openxmlformats.org/officeDocument/2006/relationships/tags" Target="../tags/tag70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66.xml"/><Relationship Id="rId13" Type="http://schemas.openxmlformats.org/officeDocument/2006/relationships/tags" Target="../tags/tag771.xml"/><Relationship Id="rId18" Type="http://schemas.openxmlformats.org/officeDocument/2006/relationships/tags" Target="../tags/tag776.xml"/><Relationship Id="rId26" Type="http://schemas.openxmlformats.org/officeDocument/2006/relationships/slideLayout" Target="../slideLayouts/slideLayout3.xml"/><Relationship Id="rId3" Type="http://schemas.openxmlformats.org/officeDocument/2006/relationships/tags" Target="../tags/tag761.xml"/><Relationship Id="rId21" Type="http://schemas.openxmlformats.org/officeDocument/2006/relationships/tags" Target="../tags/tag779.xml"/><Relationship Id="rId34" Type="http://schemas.microsoft.com/office/2007/relationships/hdphoto" Target="../media/hdphoto9.wdp"/><Relationship Id="rId7" Type="http://schemas.openxmlformats.org/officeDocument/2006/relationships/tags" Target="../tags/tag765.xml"/><Relationship Id="rId12" Type="http://schemas.openxmlformats.org/officeDocument/2006/relationships/tags" Target="../tags/tag770.xml"/><Relationship Id="rId17" Type="http://schemas.openxmlformats.org/officeDocument/2006/relationships/tags" Target="../tags/tag775.xml"/><Relationship Id="rId25" Type="http://schemas.openxmlformats.org/officeDocument/2006/relationships/tags" Target="../tags/tag783.xml"/><Relationship Id="rId33" Type="http://schemas.openxmlformats.org/officeDocument/2006/relationships/image" Target="../media/image104.png"/><Relationship Id="rId2" Type="http://schemas.openxmlformats.org/officeDocument/2006/relationships/tags" Target="../tags/tag760.xml"/><Relationship Id="rId16" Type="http://schemas.openxmlformats.org/officeDocument/2006/relationships/tags" Target="../tags/tag774.xml"/><Relationship Id="rId20" Type="http://schemas.openxmlformats.org/officeDocument/2006/relationships/tags" Target="../tags/tag778.xml"/><Relationship Id="rId29" Type="http://schemas.openxmlformats.org/officeDocument/2006/relationships/image" Target="../media/image102.gif"/><Relationship Id="rId1" Type="http://schemas.openxmlformats.org/officeDocument/2006/relationships/tags" Target="../tags/tag759.xml"/><Relationship Id="rId6" Type="http://schemas.openxmlformats.org/officeDocument/2006/relationships/tags" Target="../tags/tag764.xml"/><Relationship Id="rId11" Type="http://schemas.openxmlformats.org/officeDocument/2006/relationships/tags" Target="../tags/tag769.xml"/><Relationship Id="rId24" Type="http://schemas.openxmlformats.org/officeDocument/2006/relationships/tags" Target="../tags/tag782.xml"/><Relationship Id="rId32" Type="http://schemas.openxmlformats.org/officeDocument/2006/relationships/image" Target="../media/image103.png"/><Relationship Id="rId37" Type="http://schemas.openxmlformats.org/officeDocument/2006/relationships/image" Target="../media/image77.jpeg"/><Relationship Id="rId5" Type="http://schemas.openxmlformats.org/officeDocument/2006/relationships/tags" Target="../tags/tag763.xml"/><Relationship Id="rId15" Type="http://schemas.openxmlformats.org/officeDocument/2006/relationships/tags" Target="../tags/tag773.xml"/><Relationship Id="rId23" Type="http://schemas.openxmlformats.org/officeDocument/2006/relationships/tags" Target="../tags/tag781.xml"/><Relationship Id="rId28" Type="http://schemas.openxmlformats.org/officeDocument/2006/relationships/image" Target="../media/image83.png"/><Relationship Id="rId36" Type="http://schemas.openxmlformats.org/officeDocument/2006/relationships/image" Target="../media/image76.jpeg"/><Relationship Id="rId10" Type="http://schemas.openxmlformats.org/officeDocument/2006/relationships/tags" Target="../tags/tag768.xml"/><Relationship Id="rId19" Type="http://schemas.openxmlformats.org/officeDocument/2006/relationships/tags" Target="../tags/tag777.xml"/><Relationship Id="rId31" Type="http://schemas.openxmlformats.org/officeDocument/2006/relationships/image" Target="../media/image81.png"/><Relationship Id="rId4" Type="http://schemas.openxmlformats.org/officeDocument/2006/relationships/tags" Target="../tags/tag762.xml"/><Relationship Id="rId9" Type="http://schemas.openxmlformats.org/officeDocument/2006/relationships/tags" Target="../tags/tag767.xml"/><Relationship Id="rId14" Type="http://schemas.openxmlformats.org/officeDocument/2006/relationships/tags" Target="../tags/tag772.xml"/><Relationship Id="rId22" Type="http://schemas.openxmlformats.org/officeDocument/2006/relationships/tags" Target="../tags/tag780.xml"/><Relationship Id="rId27" Type="http://schemas.openxmlformats.org/officeDocument/2006/relationships/image" Target="../media/image84.jpeg"/><Relationship Id="rId30" Type="http://schemas.openxmlformats.org/officeDocument/2006/relationships/image" Target="../media/image51.png"/><Relationship Id="rId35" Type="http://schemas.openxmlformats.org/officeDocument/2006/relationships/image" Target="../media/image105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795.xml"/><Relationship Id="rId18" Type="http://schemas.openxmlformats.org/officeDocument/2006/relationships/tags" Target="../tags/tag800.xml"/><Relationship Id="rId26" Type="http://schemas.openxmlformats.org/officeDocument/2006/relationships/tags" Target="../tags/tag808.xml"/><Relationship Id="rId39" Type="http://schemas.openxmlformats.org/officeDocument/2006/relationships/tags" Target="../tags/tag821.xml"/><Relationship Id="rId21" Type="http://schemas.openxmlformats.org/officeDocument/2006/relationships/tags" Target="../tags/tag803.xml"/><Relationship Id="rId34" Type="http://schemas.openxmlformats.org/officeDocument/2006/relationships/tags" Target="../tags/tag816.xml"/><Relationship Id="rId42" Type="http://schemas.openxmlformats.org/officeDocument/2006/relationships/tags" Target="../tags/tag824.xml"/><Relationship Id="rId47" Type="http://schemas.openxmlformats.org/officeDocument/2006/relationships/tags" Target="../tags/tag829.xml"/><Relationship Id="rId50" Type="http://schemas.openxmlformats.org/officeDocument/2006/relationships/tags" Target="../tags/tag832.xml"/><Relationship Id="rId55" Type="http://schemas.openxmlformats.org/officeDocument/2006/relationships/tags" Target="../tags/tag837.xml"/><Relationship Id="rId7" Type="http://schemas.openxmlformats.org/officeDocument/2006/relationships/tags" Target="../tags/tag789.xml"/><Relationship Id="rId12" Type="http://schemas.openxmlformats.org/officeDocument/2006/relationships/tags" Target="../tags/tag794.xml"/><Relationship Id="rId17" Type="http://schemas.openxmlformats.org/officeDocument/2006/relationships/tags" Target="../tags/tag799.xml"/><Relationship Id="rId25" Type="http://schemas.openxmlformats.org/officeDocument/2006/relationships/tags" Target="../tags/tag807.xml"/><Relationship Id="rId33" Type="http://schemas.openxmlformats.org/officeDocument/2006/relationships/tags" Target="../tags/tag815.xml"/><Relationship Id="rId38" Type="http://schemas.openxmlformats.org/officeDocument/2006/relationships/tags" Target="../tags/tag820.xml"/><Relationship Id="rId46" Type="http://schemas.openxmlformats.org/officeDocument/2006/relationships/tags" Target="../tags/tag828.xml"/><Relationship Id="rId2" Type="http://schemas.openxmlformats.org/officeDocument/2006/relationships/tags" Target="../tags/tag784.xml"/><Relationship Id="rId16" Type="http://schemas.openxmlformats.org/officeDocument/2006/relationships/tags" Target="../tags/tag798.xml"/><Relationship Id="rId20" Type="http://schemas.openxmlformats.org/officeDocument/2006/relationships/tags" Target="../tags/tag802.xml"/><Relationship Id="rId29" Type="http://schemas.openxmlformats.org/officeDocument/2006/relationships/tags" Target="../tags/tag811.xml"/><Relationship Id="rId41" Type="http://schemas.openxmlformats.org/officeDocument/2006/relationships/tags" Target="../tags/tag823.xml"/><Relationship Id="rId54" Type="http://schemas.openxmlformats.org/officeDocument/2006/relationships/tags" Target="../tags/tag83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788.xml"/><Relationship Id="rId11" Type="http://schemas.openxmlformats.org/officeDocument/2006/relationships/tags" Target="../tags/tag793.xml"/><Relationship Id="rId24" Type="http://schemas.openxmlformats.org/officeDocument/2006/relationships/tags" Target="../tags/tag806.xml"/><Relationship Id="rId32" Type="http://schemas.openxmlformats.org/officeDocument/2006/relationships/tags" Target="../tags/tag814.xml"/><Relationship Id="rId37" Type="http://schemas.openxmlformats.org/officeDocument/2006/relationships/tags" Target="../tags/tag819.xml"/><Relationship Id="rId40" Type="http://schemas.openxmlformats.org/officeDocument/2006/relationships/tags" Target="../tags/tag822.xml"/><Relationship Id="rId45" Type="http://schemas.openxmlformats.org/officeDocument/2006/relationships/tags" Target="../tags/tag827.xml"/><Relationship Id="rId53" Type="http://schemas.openxmlformats.org/officeDocument/2006/relationships/tags" Target="../tags/tag835.xml"/><Relationship Id="rId58" Type="http://schemas.openxmlformats.org/officeDocument/2006/relationships/image" Target="../media/image75.emf"/><Relationship Id="rId5" Type="http://schemas.openxmlformats.org/officeDocument/2006/relationships/tags" Target="../tags/tag787.xml"/><Relationship Id="rId15" Type="http://schemas.openxmlformats.org/officeDocument/2006/relationships/tags" Target="../tags/tag797.xml"/><Relationship Id="rId23" Type="http://schemas.openxmlformats.org/officeDocument/2006/relationships/tags" Target="../tags/tag805.xml"/><Relationship Id="rId28" Type="http://schemas.openxmlformats.org/officeDocument/2006/relationships/tags" Target="../tags/tag810.xml"/><Relationship Id="rId36" Type="http://schemas.openxmlformats.org/officeDocument/2006/relationships/tags" Target="../tags/tag818.xml"/><Relationship Id="rId49" Type="http://schemas.openxmlformats.org/officeDocument/2006/relationships/tags" Target="../tags/tag831.xml"/><Relationship Id="rId57" Type="http://schemas.openxmlformats.org/officeDocument/2006/relationships/oleObject" Target="../embeddings/oleObject30.bin"/><Relationship Id="rId10" Type="http://schemas.openxmlformats.org/officeDocument/2006/relationships/tags" Target="../tags/tag792.xml"/><Relationship Id="rId19" Type="http://schemas.openxmlformats.org/officeDocument/2006/relationships/tags" Target="../tags/tag801.xml"/><Relationship Id="rId31" Type="http://schemas.openxmlformats.org/officeDocument/2006/relationships/tags" Target="../tags/tag813.xml"/><Relationship Id="rId44" Type="http://schemas.openxmlformats.org/officeDocument/2006/relationships/tags" Target="../tags/tag826.xml"/><Relationship Id="rId52" Type="http://schemas.openxmlformats.org/officeDocument/2006/relationships/tags" Target="../tags/tag834.xml"/><Relationship Id="rId4" Type="http://schemas.openxmlformats.org/officeDocument/2006/relationships/tags" Target="../tags/tag786.xml"/><Relationship Id="rId9" Type="http://schemas.openxmlformats.org/officeDocument/2006/relationships/tags" Target="../tags/tag791.xml"/><Relationship Id="rId14" Type="http://schemas.openxmlformats.org/officeDocument/2006/relationships/tags" Target="../tags/tag796.xml"/><Relationship Id="rId22" Type="http://schemas.openxmlformats.org/officeDocument/2006/relationships/tags" Target="../tags/tag804.xml"/><Relationship Id="rId27" Type="http://schemas.openxmlformats.org/officeDocument/2006/relationships/tags" Target="../tags/tag809.xml"/><Relationship Id="rId30" Type="http://schemas.openxmlformats.org/officeDocument/2006/relationships/tags" Target="../tags/tag812.xml"/><Relationship Id="rId35" Type="http://schemas.openxmlformats.org/officeDocument/2006/relationships/tags" Target="../tags/tag817.xml"/><Relationship Id="rId43" Type="http://schemas.openxmlformats.org/officeDocument/2006/relationships/tags" Target="../tags/tag825.xml"/><Relationship Id="rId48" Type="http://schemas.openxmlformats.org/officeDocument/2006/relationships/tags" Target="../tags/tag830.xml"/><Relationship Id="rId56" Type="http://schemas.openxmlformats.org/officeDocument/2006/relationships/slideLayout" Target="../slideLayouts/slideLayout12.xml"/><Relationship Id="rId8" Type="http://schemas.openxmlformats.org/officeDocument/2006/relationships/tags" Target="../tags/tag790.xml"/><Relationship Id="rId51" Type="http://schemas.openxmlformats.org/officeDocument/2006/relationships/tags" Target="../tags/tag833.xml"/><Relationship Id="rId3" Type="http://schemas.openxmlformats.org/officeDocument/2006/relationships/tags" Target="../tags/tag78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7524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96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59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698" name="Picture 2" descr="http://www.chaoprayanews.com/wp-content/uploads/2012/06/050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584" y="87747"/>
            <a:ext cx="1941442" cy="1261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6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529" y="6212980"/>
            <a:ext cx="975945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D2D73B51-7D85-49D5-BEB9-F2B429240C07" descr="D2D73B51-7D85-49D5-BEB9-F2B429240C07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836"/>
          <a:stretch/>
        </p:blipFill>
        <p:spPr bwMode="auto">
          <a:xfrm>
            <a:off x="2212601" y="6191666"/>
            <a:ext cx="506062" cy="477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D:\Documents\PSK\Administration\logo and header\header en 5 cm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035"/>
          <a:stretch/>
        </p:blipFill>
        <p:spPr bwMode="auto">
          <a:xfrm>
            <a:off x="1456179" y="6140008"/>
            <a:ext cx="667549" cy="58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6501172" y="4226766"/>
            <a:ext cx="1764196" cy="534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effectLst/>
                <a:latin typeface="Browallia New" pitchFamily="34" charset="-34"/>
                <a:ea typeface="+mj-ea"/>
                <a:cs typeface="Browallia New" pitchFamily="34" charset="-34"/>
                <a:sym typeface="Cordia New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9pPr>
          </a:lstStyle>
          <a:p>
            <a:r>
              <a:rPr lang="th-TH" sz="2800" b="0" dirty="0" smtClean="0">
                <a:latin typeface="Cordia New" pitchFamily="34" charset="-34"/>
                <a:ea typeface="Tahoma" pitchFamily="34" charset="0"/>
                <a:cs typeface="Cordia New" pitchFamily="34" charset="-34"/>
              </a:rPr>
              <a:t>มีนาคม 2556</a:t>
            </a:r>
            <a:endParaRPr lang="th-TH" sz="3200" b="0" dirty="0">
              <a:latin typeface="Cordia New" pitchFamily="34" charset="-34"/>
              <a:ea typeface="Tahoma" pitchFamily="34" charset="0"/>
              <a:cs typeface="Cordia New" pitchFamily="34" charset="-34"/>
            </a:endParaRPr>
          </a:p>
        </p:txBody>
      </p:sp>
      <p:cxnSp>
        <p:nvCxnSpPr>
          <p:cNvPr id="16" name="Straight Connector 15"/>
          <p:cNvCxnSpPr/>
          <p:nvPr>
            <p:custDataLst>
              <p:tags r:id="rId8"/>
            </p:custDataLst>
          </p:nvPr>
        </p:nvCxnSpPr>
        <p:spPr bwMode="auto">
          <a:xfrm>
            <a:off x="818541" y="4064890"/>
            <a:ext cx="7050783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6BA42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16"/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2" b="64499"/>
          <a:stretch/>
        </p:blipFill>
        <p:spPr>
          <a:xfrm>
            <a:off x="668524" y="1664804"/>
            <a:ext cx="7560840" cy="1761243"/>
          </a:xfrm>
          <a:prstGeom prst="rect">
            <a:avLst/>
          </a:prstGeom>
        </p:spPr>
      </p:pic>
      <p:sp>
        <p:nvSpPr>
          <p:cNvPr id="18" name="Title 1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818541" y="3578694"/>
            <a:ext cx="6762751" cy="534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effectLst/>
                <a:latin typeface="Browallia New" pitchFamily="34" charset="-34"/>
                <a:ea typeface="+mj-ea"/>
                <a:cs typeface="Browallia New" pitchFamily="34" charset="-34"/>
                <a:sym typeface="Cordia New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9pPr>
          </a:lstStyle>
          <a:p>
            <a:r>
              <a:rPr lang="th-TH" sz="2800" dirty="0">
                <a:latin typeface="Cordia New" pitchFamily="34" charset="-34"/>
                <a:ea typeface="Tahoma" pitchFamily="34" charset="0"/>
                <a:cs typeface="Cordia New" pitchFamily="34" charset="-34"/>
              </a:rPr>
              <a:t>แนวคิดในการดำเนินงานบริหารจัดการระบบตั๋วร่วม </a:t>
            </a:r>
          </a:p>
        </p:txBody>
      </p:sp>
    </p:spTree>
    <p:extLst>
      <p:ext uri="{BB962C8B-B14F-4D97-AF65-F5344CB8AC3E}">
        <p14:creationId xmlns:p14="http://schemas.microsoft.com/office/powerpoint/2010/main" val="284803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5493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1" name="think-cell Slide" r:id="rId59" imgW="360" imgH="360" progId="">
                  <p:embed/>
                </p:oleObj>
              </mc:Choice>
              <mc:Fallback>
                <p:oleObj name="think-cell Slide" r:id="rId59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th-TH" sz="2400" dirty="0"/>
              <a:t>โครงสร้างอัตราค่าโดยสารในระยะยาว </a:t>
            </a:r>
            <a:r>
              <a:rPr lang="en-US" sz="1800" b="0" i="1" dirty="0"/>
              <a:t>(</a:t>
            </a:r>
            <a:r>
              <a:rPr lang="th-TH" sz="1800" b="0" i="1" dirty="0"/>
              <a:t>ตัวอย่างในเบื้องต้น</a:t>
            </a:r>
            <a:r>
              <a:rPr lang="en-US" sz="1800" b="0" i="1" dirty="0"/>
              <a:t>)</a:t>
            </a:r>
            <a:endParaRPr lang="th-TH" sz="2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25" name="Rectangle 24"/>
          <p:cNvSpPr/>
          <p:nvPr>
            <p:custDataLst>
              <p:tags r:id="rId5"/>
            </p:custDataLst>
          </p:nvPr>
        </p:nvSpPr>
        <p:spPr bwMode="auto">
          <a:xfrm>
            <a:off x="338776" y="1738907"/>
            <a:ext cx="8093081" cy="4464497"/>
          </a:xfrm>
          <a:prstGeom prst="rect">
            <a:avLst/>
          </a:prstGeom>
          <a:solidFill>
            <a:srgbClr val="FFFFFF">
              <a:alpha val="49020"/>
            </a:srgb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400" dirty="0" smtClean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6" name="Oval 5"/>
          <p:cNvSpPr/>
          <p:nvPr>
            <p:custDataLst>
              <p:tags r:id="rId6"/>
            </p:custDataLst>
          </p:nvPr>
        </p:nvSpPr>
        <p:spPr bwMode="auto">
          <a:xfrm>
            <a:off x="2486459" y="2542381"/>
            <a:ext cx="356435" cy="377371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Bus1</a:t>
            </a:r>
            <a:endParaRPr lang="th-TH" sz="1400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7" name="Oval 6"/>
          <p:cNvSpPr/>
          <p:nvPr>
            <p:custDataLst>
              <p:tags r:id="rId7"/>
            </p:custDataLst>
          </p:nvPr>
        </p:nvSpPr>
        <p:spPr bwMode="auto">
          <a:xfrm>
            <a:off x="3365529" y="2542381"/>
            <a:ext cx="356435" cy="377371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Bus2</a:t>
            </a:r>
            <a:endParaRPr lang="th-TH" sz="1400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8" name="Oval 7"/>
          <p:cNvSpPr/>
          <p:nvPr>
            <p:custDataLst>
              <p:tags r:id="rId8"/>
            </p:custDataLst>
          </p:nvPr>
        </p:nvSpPr>
        <p:spPr bwMode="auto">
          <a:xfrm>
            <a:off x="4370805" y="2542381"/>
            <a:ext cx="356435" cy="377371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Rail1</a:t>
            </a:r>
            <a:endParaRPr lang="th-TH" sz="1400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0" name="Oval 9"/>
          <p:cNvSpPr/>
          <p:nvPr>
            <p:custDataLst>
              <p:tags r:id="rId9"/>
            </p:custDataLst>
          </p:nvPr>
        </p:nvSpPr>
        <p:spPr bwMode="auto">
          <a:xfrm>
            <a:off x="6400114" y="2542381"/>
            <a:ext cx="356435" cy="377371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Rail2</a:t>
            </a:r>
            <a:endParaRPr lang="th-TH" sz="1400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11" name="Curved Connector 10"/>
          <p:cNvCxnSpPr>
            <a:stCxn id="6" idx="0"/>
            <a:endCxn id="7" idx="0"/>
          </p:cNvCxnSpPr>
          <p:nvPr>
            <p:custDataLst>
              <p:tags r:id="rId10"/>
            </p:custDataLst>
          </p:nvPr>
        </p:nvCxnSpPr>
        <p:spPr bwMode="auto">
          <a:xfrm rot="5400000" flipH="1" flipV="1">
            <a:off x="3104211" y="2102841"/>
            <a:ext cx="12700" cy="879068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5" name="Curved Connector 14"/>
          <p:cNvCxnSpPr>
            <a:stCxn id="7" idx="0"/>
            <a:endCxn id="8" idx="0"/>
          </p:cNvCxnSpPr>
          <p:nvPr>
            <p:custDataLst>
              <p:tags r:id="rId11"/>
            </p:custDataLst>
          </p:nvPr>
        </p:nvCxnSpPr>
        <p:spPr bwMode="auto">
          <a:xfrm rot="5400000" flipH="1" flipV="1">
            <a:off x="4046384" y="2039739"/>
            <a:ext cx="12700" cy="1005278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8" name="Curved Connector 17"/>
          <p:cNvCxnSpPr>
            <a:stCxn id="8" idx="0"/>
            <a:endCxn id="10" idx="0"/>
          </p:cNvCxnSpPr>
          <p:nvPr>
            <p:custDataLst>
              <p:tags r:id="rId12"/>
            </p:custDataLst>
          </p:nvPr>
        </p:nvCxnSpPr>
        <p:spPr bwMode="auto">
          <a:xfrm rot="5400000" flipH="1" flipV="1">
            <a:off x="5563677" y="1527723"/>
            <a:ext cx="12700" cy="2029309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sp>
        <p:nvSpPr>
          <p:cNvPr id="21" name="Oval 20"/>
          <p:cNvSpPr/>
          <p:nvPr>
            <p:custDataLst>
              <p:tags r:id="rId13"/>
            </p:custDataLst>
          </p:nvPr>
        </p:nvSpPr>
        <p:spPr bwMode="auto">
          <a:xfrm>
            <a:off x="2534697" y="1835562"/>
            <a:ext cx="356435" cy="415108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600" b="1" i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เต็มอัตรา</a:t>
            </a:r>
            <a:endParaRPr lang="th-TH" sz="1800" b="1" i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2" name="Oval 21"/>
          <p:cNvSpPr/>
          <p:nvPr>
            <p:custDataLst>
              <p:tags r:id="rId14"/>
            </p:custDataLst>
          </p:nvPr>
        </p:nvSpPr>
        <p:spPr bwMode="auto">
          <a:xfrm>
            <a:off x="3352724" y="1835562"/>
            <a:ext cx="356435" cy="415108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600" b="1" i="1" dirty="0" smtClean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ได้รับยกเว้น</a:t>
            </a:r>
            <a:endParaRPr lang="th-TH" sz="1600" b="1" i="1" dirty="0">
              <a:solidFill>
                <a:srgbClr val="C00000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3" name="Oval 22"/>
          <p:cNvSpPr/>
          <p:nvPr>
            <p:custDataLst>
              <p:tags r:id="rId15"/>
            </p:custDataLst>
          </p:nvPr>
        </p:nvSpPr>
        <p:spPr bwMode="auto">
          <a:xfrm>
            <a:off x="4364405" y="1835562"/>
            <a:ext cx="356435" cy="415108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600" b="1" i="1" dirty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ส่วนลด </a:t>
            </a:r>
            <a:r>
              <a:rPr lang="en-US" sz="1600" b="1" i="1" dirty="0" smtClean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10 </a:t>
            </a:r>
            <a:r>
              <a:rPr lang="th-TH" sz="1600" b="1" i="1" dirty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บ.</a:t>
            </a:r>
          </a:p>
        </p:txBody>
      </p:sp>
      <p:sp>
        <p:nvSpPr>
          <p:cNvPr id="24" name="Oval 23"/>
          <p:cNvSpPr/>
          <p:nvPr>
            <p:custDataLst>
              <p:tags r:id="rId16"/>
            </p:custDataLst>
          </p:nvPr>
        </p:nvSpPr>
        <p:spPr bwMode="auto">
          <a:xfrm>
            <a:off x="6419325" y="1835562"/>
            <a:ext cx="356435" cy="415108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600" b="1" i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เต็มอัตรา</a:t>
            </a:r>
            <a:endParaRPr lang="th-TH" sz="1800" b="1" i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52" name="Rectangle 51"/>
          <p:cNvSpPr/>
          <p:nvPr>
            <p:custDataLst>
              <p:tags r:id="rId17"/>
            </p:custDataLst>
          </p:nvPr>
        </p:nvSpPr>
        <p:spPr bwMode="auto">
          <a:xfrm>
            <a:off x="1311175" y="1835562"/>
            <a:ext cx="942927" cy="42527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อัตราใหม่</a:t>
            </a:r>
          </a:p>
        </p:txBody>
      </p:sp>
      <p:sp>
        <p:nvSpPr>
          <p:cNvPr id="53" name="Rectangle 52"/>
          <p:cNvSpPr/>
          <p:nvPr>
            <p:custDataLst>
              <p:tags r:id="rId18"/>
            </p:custDataLst>
          </p:nvPr>
        </p:nvSpPr>
        <p:spPr bwMode="auto">
          <a:xfrm>
            <a:off x="1311175" y="2481093"/>
            <a:ext cx="942927" cy="42527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ะบบ</a:t>
            </a:r>
          </a:p>
        </p:txBody>
      </p:sp>
      <p:sp>
        <p:nvSpPr>
          <p:cNvPr id="101" name="Pentagon 100"/>
          <p:cNvSpPr/>
          <p:nvPr>
            <p:custDataLst>
              <p:tags r:id="rId19"/>
            </p:custDataLst>
          </p:nvPr>
        </p:nvSpPr>
        <p:spPr bwMode="auto">
          <a:xfrm>
            <a:off x="84029" y="3212543"/>
            <a:ext cx="1140942" cy="828745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8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กรณีที่</a:t>
            </a:r>
            <a:r>
              <a:rPr lang="en-US" sz="18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 2</a:t>
            </a:r>
            <a:endParaRPr lang="th-TH" sz="1800" b="1" dirty="0" smtClean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70" name="Rectangle 69"/>
          <p:cNvSpPr/>
          <p:nvPr>
            <p:custDataLst>
              <p:tags r:id="rId20"/>
            </p:custDataLst>
          </p:nvPr>
        </p:nvSpPr>
        <p:spPr bwMode="auto">
          <a:xfrm>
            <a:off x="1311175" y="3167893"/>
            <a:ext cx="942927" cy="5145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</a:pPr>
            <a:r>
              <a:rPr lang="th-TH" sz="16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อัตราปกติ</a:t>
            </a:r>
          </a:p>
        </p:txBody>
      </p:sp>
      <p:sp>
        <p:nvSpPr>
          <p:cNvPr id="71" name="Rectangle 70"/>
          <p:cNvSpPr/>
          <p:nvPr>
            <p:custDataLst>
              <p:tags r:id="rId21"/>
            </p:custDataLst>
          </p:nvPr>
        </p:nvSpPr>
        <p:spPr bwMode="auto">
          <a:xfrm>
            <a:off x="1311175" y="4686194"/>
            <a:ext cx="942927" cy="5145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เงินที่จัดสรร</a:t>
            </a:r>
          </a:p>
        </p:txBody>
      </p:sp>
      <p:sp>
        <p:nvSpPr>
          <p:cNvPr id="72" name="Rounded Rectangle 71"/>
          <p:cNvSpPr/>
          <p:nvPr>
            <p:custDataLst>
              <p:tags r:id="rId22"/>
            </p:custDataLst>
          </p:nvPr>
        </p:nvSpPr>
        <p:spPr bwMode="auto">
          <a:xfrm>
            <a:off x="2368626" y="3207738"/>
            <a:ext cx="581497" cy="457698"/>
          </a:xfrm>
          <a:prstGeom prst="roundRect">
            <a:avLst/>
          </a:pr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tIns="72000" rtlCol="0" anchor="ctr"/>
          <a:lstStyle/>
          <a:p>
            <a:pPr algn="ctr">
              <a:lnSpc>
                <a:spcPts val="1700"/>
              </a:lnSpc>
            </a:pPr>
            <a:r>
              <a:rPr lang="en-US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7</a:t>
            </a:r>
            <a:r>
              <a:rPr lang="th-TH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 บ</a:t>
            </a:r>
            <a:r>
              <a:rPr lang="en-US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.</a:t>
            </a:r>
            <a:endParaRPr lang="th-TH" sz="18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73" name="Rounded Rectangle 72"/>
          <p:cNvSpPr/>
          <p:nvPr>
            <p:custDataLst>
              <p:tags r:id="rId23"/>
            </p:custDataLst>
          </p:nvPr>
        </p:nvSpPr>
        <p:spPr bwMode="auto">
          <a:xfrm>
            <a:off x="3271542" y="3207738"/>
            <a:ext cx="581497" cy="457698"/>
          </a:xfrm>
          <a:prstGeom prst="roundRect">
            <a:avLst/>
          </a:pr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tIns="72000" rtlCol="0" anchor="ctr"/>
          <a:lstStyle/>
          <a:p>
            <a:pPr algn="ctr">
              <a:lnSpc>
                <a:spcPts val="1700"/>
              </a:lnSpc>
            </a:pPr>
            <a:r>
              <a:rPr lang="en-US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7</a:t>
            </a:r>
            <a:r>
              <a:rPr lang="th-TH" sz="18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 บ</a:t>
            </a:r>
            <a:r>
              <a:rPr lang="en-US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.</a:t>
            </a:r>
            <a:endParaRPr lang="th-TH" sz="18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74" name="Rounded Rectangle 73"/>
          <p:cNvSpPr/>
          <p:nvPr>
            <p:custDataLst>
              <p:tags r:id="rId24"/>
            </p:custDataLst>
          </p:nvPr>
        </p:nvSpPr>
        <p:spPr bwMode="auto">
          <a:xfrm>
            <a:off x="4255537" y="3207738"/>
            <a:ext cx="581497" cy="457698"/>
          </a:xfrm>
          <a:prstGeom prst="roundRect">
            <a:avLst/>
          </a:pr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tIns="72000" rtlCol="0" anchor="ctr"/>
          <a:lstStyle/>
          <a:p>
            <a:pPr algn="ctr">
              <a:lnSpc>
                <a:spcPts val="1700"/>
              </a:lnSpc>
            </a:pPr>
            <a:r>
              <a:rPr lang="en-US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40</a:t>
            </a:r>
            <a:r>
              <a:rPr lang="th-TH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 </a:t>
            </a:r>
            <a:r>
              <a:rPr lang="th-TH" sz="18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บ</a:t>
            </a:r>
            <a:r>
              <a:rPr lang="en-US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.</a:t>
            </a:r>
            <a:endParaRPr lang="th-TH" sz="18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75" name="Rounded Rectangle 74"/>
          <p:cNvSpPr/>
          <p:nvPr>
            <p:custDataLst>
              <p:tags r:id="rId25"/>
            </p:custDataLst>
          </p:nvPr>
        </p:nvSpPr>
        <p:spPr bwMode="auto">
          <a:xfrm>
            <a:off x="6307943" y="3207738"/>
            <a:ext cx="581497" cy="45769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tIns="72000" rtlCol="0" anchor="ctr"/>
          <a:lstStyle/>
          <a:p>
            <a:pPr algn="ctr">
              <a:lnSpc>
                <a:spcPts val="1700"/>
              </a:lnSpc>
            </a:pPr>
            <a:r>
              <a:rPr lang="th-TH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Cordia New" pitchFamily="34" charset="-34"/>
                <a:cs typeface="Cordia New" pitchFamily="34" charset="-34"/>
              </a:rPr>
              <a:t>เต็มอัตรา</a:t>
            </a:r>
            <a:endParaRPr lang="th-TH" sz="1400" b="1" dirty="0">
              <a:solidFill>
                <a:prstClr val="black">
                  <a:lumMod val="65000"/>
                  <a:lumOff val="35000"/>
                </a:prstClr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76" name="Rectangle 75"/>
          <p:cNvSpPr/>
          <p:nvPr>
            <p:custDataLst>
              <p:tags r:id="rId26"/>
            </p:custDataLst>
          </p:nvPr>
        </p:nvSpPr>
        <p:spPr bwMode="auto">
          <a:xfrm>
            <a:off x="5236889" y="3857263"/>
            <a:ext cx="758722" cy="431172"/>
          </a:xfrm>
          <a:prstGeom prst="rect">
            <a:avLst/>
          </a:prstGeom>
          <a:solidFill>
            <a:srgbClr val="002060"/>
          </a:solidFill>
          <a:ln w="19050" cap="flat" cmpd="sng" algn="ctr">
            <a:solidFill>
              <a:srgbClr val="00321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08000" tIns="72000" rIns="108000" bIns="72000" rtlCol="0" anchor="ctr"/>
          <a:lstStyle/>
          <a:p>
            <a:pPr algn="ctr">
              <a:lnSpc>
                <a:spcPts val="1700"/>
              </a:lnSpc>
            </a:pPr>
            <a:r>
              <a:rPr lang="en-US" sz="20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[40] </a:t>
            </a:r>
            <a:r>
              <a:rPr lang="th-TH" sz="20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บ.</a:t>
            </a:r>
            <a:endParaRPr lang="th-TH" sz="20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79" name="Rectangle 78"/>
          <p:cNvSpPr/>
          <p:nvPr>
            <p:custDataLst>
              <p:tags r:id="rId27"/>
            </p:custDataLst>
          </p:nvPr>
        </p:nvSpPr>
        <p:spPr bwMode="auto">
          <a:xfrm>
            <a:off x="5252860" y="3197361"/>
            <a:ext cx="758722" cy="431172"/>
          </a:xfrm>
          <a:prstGeom prst="rect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08000" tIns="72000" rIns="108000" bIns="72000" rtlCol="0" anchor="ctr"/>
          <a:lstStyle/>
          <a:p>
            <a:pPr algn="ctr">
              <a:lnSpc>
                <a:spcPts val="1700"/>
              </a:lnSpc>
            </a:pPr>
            <a:r>
              <a:rPr lang="en-US" sz="20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54 </a:t>
            </a:r>
            <a:r>
              <a:rPr lang="th-TH" sz="20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บ.</a:t>
            </a:r>
            <a:endParaRPr lang="th-TH" sz="20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80" name="Rectangle 79"/>
          <p:cNvSpPr/>
          <p:nvPr>
            <p:custDataLst>
              <p:tags r:id="rId28"/>
            </p:custDataLst>
          </p:nvPr>
        </p:nvSpPr>
        <p:spPr bwMode="auto">
          <a:xfrm>
            <a:off x="4831454" y="3256190"/>
            <a:ext cx="389344" cy="3919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ts val="1700"/>
              </a:lnSpc>
            </a:pPr>
            <a:r>
              <a:rPr lang="en-US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=</a:t>
            </a:r>
            <a:endParaRPr lang="th-TH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81" name="Rectangle 80"/>
          <p:cNvSpPr/>
          <p:nvPr>
            <p:custDataLst>
              <p:tags r:id="rId29"/>
            </p:custDataLst>
          </p:nvPr>
        </p:nvSpPr>
        <p:spPr bwMode="auto">
          <a:xfrm>
            <a:off x="4831454" y="3949371"/>
            <a:ext cx="389344" cy="35634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ts val="1700"/>
              </a:lnSpc>
            </a:pPr>
            <a:r>
              <a:rPr lang="en-US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=</a:t>
            </a:r>
            <a:endParaRPr lang="th-TH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82" name="Rectangle 81"/>
          <p:cNvSpPr/>
          <p:nvPr>
            <p:custDataLst>
              <p:tags r:id="rId30"/>
            </p:custDataLst>
          </p:nvPr>
        </p:nvSpPr>
        <p:spPr bwMode="auto">
          <a:xfrm>
            <a:off x="1311175" y="3857264"/>
            <a:ext cx="942927" cy="5145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</a:pPr>
            <a:r>
              <a:rPr lang="th-TH" sz="16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จำนวนที่เก็บได้</a:t>
            </a:r>
          </a:p>
        </p:txBody>
      </p:sp>
      <p:sp>
        <p:nvSpPr>
          <p:cNvPr id="83" name="Rounded Rectangle 82"/>
          <p:cNvSpPr/>
          <p:nvPr>
            <p:custDataLst>
              <p:tags r:id="rId31"/>
            </p:custDataLst>
          </p:nvPr>
        </p:nvSpPr>
        <p:spPr bwMode="auto">
          <a:xfrm>
            <a:off x="2382549" y="3857263"/>
            <a:ext cx="581497" cy="457698"/>
          </a:xfrm>
          <a:prstGeom prst="roundRect">
            <a:avLst/>
          </a:prstGeom>
          <a:noFill/>
          <a:ln w="95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tIns="72000" rtlCol="0" anchor="ctr"/>
          <a:lstStyle/>
          <a:p>
            <a:pPr algn="ctr">
              <a:lnSpc>
                <a:spcPts val="1700"/>
              </a:lnSpc>
            </a:pPr>
            <a:r>
              <a:rPr lang="en-US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[10]</a:t>
            </a:r>
            <a:r>
              <a:rPr lang="th-TH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 </a:t>
            </a:r>
            <a:r>
              <a:rPr lang="th-TH" sz="18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บ</a:t>
            </a:r>
            <a:r>
              <a:rPr lang="en-US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.</a:t>
            </a:r>
            <a:endParaRPr lang="th-TH" sz="18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84" name="Rounded Rectangle 83"/>
          <p:cNvSpPr/>
          <p:nvPr>
            <p:custDataLst>
              <p:tags r:id="rId32"/>
            </p:custDataLst>
          </p:nvPr>
        </p:nvSpPr>
        <p:spPr bwMode="auto">
          <a:xfrm>
            <a:off x="3285465" y="3857263"/>
            <a:ext cx="581497" cy="457698"/>
          </a:xfrm>
          <a:prstGeom prst="roundRect">
            <a:avLst/>
          </a:prstGeom>
          <a:noFill/>
          <a:ln w="95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tIns="72000" rtlCol="0" anchor="ctr"/>
          <a:lstStyle/>
          <a:p>
            <a:pPr algn="ctr">
              <a:lnSpc>
                <a:spcPts val="1700"/>
              </a:lnSpc>
            </a:pPr>
            <a:r>
              <a:rPr lang="en-US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0</a:t>
            </a:r>
            <a:endParaRPr lang="th-TH" sz="18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85" name="Rounded Rectangle 84"/>
          <p:cNvSpPr/>
          <p:nvPr>
            <p:custDataLst>
              <p:tags r:id="rId33"/>
            </p:custDataLst>
          </p:nvPr>
        </p:nvSpPr>
        <p:spPr bwMode="auto">
          <a:xfrm>
            <a:off x="4269459" y="3857263"/>
            <a:ext cx="581497" cy="457698"/>
          </a:xfrm>
          <a:prstGeom prst="roundRect">
            <a:avLst/>
          </a:prstGeom>
          <a:noFill/>
          <a:ln w="95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tIns="72000" rtlCol="0" anchor="ctr"/>
          <a:lstStyle/>
          <a:p>
            <a:pPr algn="ctr">
              <a:lnSpc>
                <a:spcPts val="1700"/>
              </a:lnSpc>
            </a:pPr>
            <a:r>
              <a:rPr lang="en-US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[30]</a:t>
            </a:r>
            <a:r>
              <a:rPr lang="th-TH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 </a:t>
            </a:r>
            <a:r>
              <a:rPr lang="th-TH" sz="18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บ</a:t>
            </a:r>
            <a:r>
              <a:rPr lang="en-US" sz="18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.</a:t>
            </a:r>
            <a:endParaRPr lang="th-TH" sz="18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00" name="Rounded Rectangle 99"/>
          <p:cNvSpPr/>
          <p:nvPr>
            <p:custDataLst>
              <p:tags r:id="rId34"/>
            </p:custDataLst>
          </p:nvPr>
        </p:nvSpPr>
        <p:spPr bwMode="auto">
          <a:xfrm>
            <a:off x="6321865" y="3857263"/>
            <a:ext cx="581497" cy="45769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tIns="72000" rtlCol="0" anchor="ctr"/>
          <a:lstStyle/>
          <a:p>
            <a:pPr algn="ctr">
              <a:lnSpc>
                <a:spcPts val="1700"/>
              </a:lnSpc>
            </a:pPr>
            <a:r>
              <a:rPr lang="th-TH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Cordia New" pitchFamily="34" charset="-34"/>
                <a:cs typeface="Cordia New" pitchFamily="34" charset="-34"/>
              </a:rPr>
              <a:t>เต็มอัตรา</a:t>
            </a:r>
          </a:p>
        </p:txBody>
      </p:sp>
      <p:sp>
        <p:nvSpPr>
          <p:cNvPr id="103" name="Rectangle 102"/>
          <p:cNvSpPr/>
          <p:nvPr>
            <p:custDataLst>
              <p:tags r:id="rId35"/>
            </p:custDataLst>
          </p:nvPr>
        </p:nvSpPr>
        <p:spPr bwMode="auto">
          <a:xfrm>
            <a:off x="2920320" y="3304645"/>
            <a:ext cx="389344" cy="3239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ts val="1700"/>
              </a:lnSpc>
            </a:pPr>
            <a:r>
              <a:rPr lang="en-US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+</a:t>
            </a:r>
            <a:endParaRPr lang="th-TH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08" name="Rectangle 107"/>
          <p:cNvSpPr/>
          <p:nvPr>
            <p:custDataLst>
              <p:tags r:id="rId36"/>
            </p:custDataLst>
          </p:nvPr>
        </p:nvSpPr>
        <p:spPr bwMode="auto">
          <a:xfrm>
            <a:off x="3882111" y="3304645"/>
            <a:ext cx="389344" cy="3239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ts val="1700"/>
              </a:lnSpc>
            </a:pPr>
            <a:r>
              <a:rPr lang="en-US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+</a:t>
            </a:r>
            <a:endParaRPr lang="th-TH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10" name="Rectangle 109"/>
          <p:cNvSpPr/>
          <p:nvPr>
            <p:custDataLst>
              <p:tags r:id="rId37"/>
            </p:custDataLst>
          </p:nvPr>
        </p:nvSpPr>
        <p:spPr bwMode="auto">
          <a:xfrm>
            <a:off x="2927194" y="3993831"/>
            <a:ext cx="389344" cy="3239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ts val="1700"/>
              </a:lnSpc>
            </a:pPr>
            <a:r>
              <a:rPr lang="en-US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+</a:t>
            </a:r>
            <a:endParaRPr lang="th-TH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12" name="Rectangle 111"/>
          <p:cNvSpPr/>
          <p:nvPr>
            <p:custDataLst>
              <p:tags r:id="rId38"/>
            </p:custDataLst>
          </p:nvPr>
        </p:nvSpPr>
        <p:spPr bwMode="auto">
          <a:xfrm>
            <a:off x="3888984" y="3993831"/>
            <a:ext cx="389344" cy="3239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ts val="1700"/>
              </a:lnSpc>
            </a:pPr>
            <a:r>
              <a:rPr lang="en-US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+</a:t>
            </a:r>
            <a:endParaRPr lang="th-TH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13" name="Oval 112"/>
          <p:cNvSpPr/>
          <p:nvPr>
            <p:custDataLst>
              <p:tags r:id="rId39"/>
            </p:custDataLst>
          </p:nvPr>
        </p:nvSpPr>
        <p:spPr bwMode="auto">
          <a:xfrm>
            <a:off x="2427473" y="4728296"/>
            <a:ext cx="474415" cy="456619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5.2</a:t>
            </a:r>
            <a:r>
              <a:rPr lang="th-TH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 บ</a:t>
            </a:r>
            <a:r>
              <a:rPr lang="en-US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.</a:t>
            </a:r>
            <a:endParaRPr lang="th-TH" sz="14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14" name="Oval 113"/>
          <p:cNvSpPr/>
          <p:nvPr>
            <p:custDataLst>
              <p:tags r:id="rId40"/>
            </p:custDataLst>
          </p:nvPr>
        </p:nvSpPr>
        <p:spPr bwMode="auto">
          <a:xfrm>
            <a:off x="3306538" y="4728296"/>
            <a:ext cx="474415" cy="456619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5.2</a:t>
            </a:r>
            <a:r>
              <a:rPr lang="th-TH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 </a:t>
            </a:r>
            <a:r>
              <a:rPr lang="th-TH" sz="14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บ</a:t>
            </a:r>
            <a:r>
              <a:rPr lang="en-US" sz="14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.</a:t>
            </a:r>
            <a:endParaRPr lang="th-TH" sz="14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15" name="Oval 114"/>
          <p:cNvSpPr/>
          <p:nvPr>
            <p:custDataLst>
              <p:tags r:id="rId41"/>
            </p:custDataLst>
          </p:nvPr>
        </p:nvSpPr>
        <p:spPr bwMode="auto">
          <a:xfrm>
            <a:off x="4295835" y="4728296"/>
            <a:ext cx="491917" cy="456619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29.6</a:t>
            </a:r>
            <a:r>
              <a:rPr lang="th-TH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 </a:t>
            </a:r>
            <a:r>
              <a:rPr lang="th-TH" sz="14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บ</a:t>
            </a:r>
            <a:r>
              <a:rPr lang="en-US" sz="14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.</a:t>
            </a:r>
            <a:endParaRPr lang="th-TH" sz="14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117" name="Straight Arrow Connector 45"/>
          <p:cNvCxnSpPr>
            <a:stCxn id="76" idx="2"/>
            <a:endCxn id="114" idx="0"/>
          </p:cNvCxnSpPr>
          <p:nvPr>
            <p:custDataLst>
              <p:tags r:id="rId42"/>
            </p:custDataLst>
          </p:nvPr>
        </p:nvCxnSpPr>
        <p:spPr bwMode="auto">
          <a:xfrm rot="5400000">
            <a:off x="4360068" y="3472113"/>
            <a:ext cx="439861" cy="207250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8" name="Straight Arrow Connector 45"/>
          <p:cNvCxnSpPr>
            <a:stCxn id="76" idx="2"/>
            <a:endCxn id="115" idx="0"/>
          </p:cNvCxnSpPr>
          <p:nvPr>
            <p:custDataLst>
              <p:tags r:id="rId43"/>
            </p:custDataLst>
          </p:nvPr>
        </p:nvCxnSpPr>
        <p:spPr bwMode="auto">
          <a:xfrm rot="5400000">
            <a:off x="4859092" y="3971137"/>
            <a:ext cx="439861" cy="107445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9" name="Straight Arrow Connector 45"/>
          <p:cNvCxnSpPr>
            <a:stCxn id="76" idx="2"/>
            <a:endCxn id="113" idx="0"/>
          </p:cNvCxnSpPr>
          <p:nvPr>
            <p:custDataLst>
              <p:tags r:id="rId44"/>
            </p:custDataLst>
          </p:nvPr>
        </p:nvCxnSpPr>
        <p:spPr bwMode="auto">
          <a:xfrm rot="5400000">
            <a:off x="3920536" y="3032581"/>
            <a:ext cx="439861" cy="295156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1" name="Rectangle 120"/>
          <p:cNvSpPr/>
          <p:nvPr>
            <p:custDataLst>
              <p:tags r:id="rId45"/>
            </p:custDataLst>
          </p:nvPr>
        </p:nvSpPr>
        <p:spPr bwMode="auto">
          <a:xfrm>
            <a:off x="2775914" y="4409879"/>
            <a:ext cx="353949" cy="267726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[13%]</a:t>
            </a:r>
            <a:endParaRPr lang="th-TH" sz="1400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22" name="Rectangle 121"/>
          <p:cNvSpPr/>
          <p:nvPr>
            <p:custDataLst>
              <p:tags r:id="rId46"/>
            </p:custDataLst>
          </p:nvPr>
        </p:nvSpPr>
        <p:spPr bwMode="auto">
          <a:xfrm>
            <a:off x="3661748" y="4409880"/>
            <a:ext cx="353949" cy="267726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[13%]</a:t>
            </a:r>
            <a:endParaRPr lang="th-TH" sz="1400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23" name="Rectangle 122"/>
          <p:cNvSpPr/>
          <p:nvPr>
            <p:custDataLst>
              <p:tags r:id="rId47"/>
            </p:custDataLst>
          </p:nvPr>
        </p:nvSpPr>
        <p:spPr bwMode="auto">
          <a:xfrm>
            <a:off x="4629995" y="4409881"/>
            <a:ext cx="353949" cy="267726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[74%]</a:t>
            </a:r>
            <a:endParaRPr lang="th-TH" sz="1400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07" name="Rectangle 106"/>
          <p:cNvSpPr/>
          <p:nvPr>
            <p:custDataLst>
              <p:tags r:id="rId48"/>
            </p:custDataLst>
          </p:nvPr>
        </p:nvSpPr>
        <p:spPr>
          <a:xfrm>
            <a:off x="339899" y="1052742"/>
            <a:ext cx="2715808" cy="461665"/>
          </a:xfrm>
          <a:prstGeom prst="rect">
            <a:avLst/>
          </a:prstGeom>
          <a:noFill/>
        </p:spPr>
        <p:txBody>
          <a:bodyPr wrap="none" lIns="91440" tIns="45720" rIns="91440" bIns="45720" anchor="ctr">
            <a:spAutoFit/>
          </a:bodyPr>
          <a:lstStyle/>
          <a:p>
            <a:pPr>
              <a:defRPr/>
            </a:pPr>
            <a:r>
              <a:rPr lang="th-TH" sz="2400" b="1" kern="0" dirty="0" smtClean="0">
                <a:solidFill>
                  <a:srgbClr val="002060"/>
                </a:solidFill>
                <a:latin typeface="Cordia New" pitchFamily="34" charset="-34"/>
                <a:cs typeface="Cordia New" pitchFamily="34" charset="-34"/>
              </a:rPr>
              <a:t>ตัวอย่าง</a:t>
            </a:r>
            <a:r>
              <a:rPr lang="en-US" sz="2400" b="1" kern="0" dirty="0" smtClean="0">
                <a:solidFill>
                  <a:srgbClr val="002060"/>
                </a:solidFill>
                <a:latin typeface="Cordia New" pitchFamily="34" charset="-34"/>
                <a:cs typeface="Cordia New" pitchFamily="34" charset="-34"/>
              </a:rPr>
              <a:t> : </a:t>
            </a:r>
            <a:r>
              <a:rPr lang="th-TH" sz="2400" b="1" kern="0" dirty="0" smtClean="0">
                <a:solidFill>
                  <a:srgbClr val="002060"/>
                </a:solidFill>
                <a:latin typeface="Cordia New" pitchFamily="34" charset="-34"/>
                <a:cs typeface="Cordia New" pitchFamily="34" charset="-34"/>
              </a:rPr>
              <a:t>การจัดแบ่งรายได้</a:t>
            </a:r>
            <a:endParaRPr lang="en-US" sz="2400" b="1" kern="0" dirty="0">
              <a:solidFill>
                <a:srgbClr val="002060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125" name="Straight Arrow Connector 124"/>
          <p:cNvCxnSpPr/>
          <p:nvPr>
            <p:custDataLst>
              <p:tags r:id="rId49"/>
            </p:custDataLst>
          </p:nvPr>
        </p:nvCxnSpPr>
        <p:spPr bwMode="auto">
          <a:xfrm flipH="1" flipV="1">
            <a:off x="5295678" y="5434806"/>
            <a:ext cx="820121" cy="1306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6" name="Rectangle 125"/>
          <p:cNvSpPr/>
          <p:nvPr>
            <p:custDataLst>
              <p:tags r:id="rId50"/>
            </p:custDataLst>
          </p:nvPr>
        </p:nvSpPr>
        <p:spPr bwMode="auto">
          <a:xfrm>
            <a:off x="1314818" y="5417003"/>
            <a:ext cx="924348" cy="5197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เงินอุดหนุนภาครัฐ</a:t>
            </a:r>
            <a:endParaRPr lang="en-US" sz="1600" b="1" dirty="0" smtClean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27" name="Oval 126"/>
          <p:cNvSpPr/>
          <p:nvPr>
            <p:custDataLst>
              <p:tags r:id="rId51"/>
            </p:custDataLst>
          </p:nvPr>
        </p:nvSpPr>
        <p:spPr bwMode="auto">
          <a:xfrm>
            <a:off x="2450945" y="5503833"/>
            <a:ext cx="465067" cy="41926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1.8 </a:t>
            </a:r>
            <a:r>
              <a:rPr lang="th-TH" sz="14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บ</a:t>
            </a:r>
            <a:r>
              <a:rPr lang="en-US" sz="14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.</a:t>
            </a:r>
            <a:endParaRPr lang="th-TH" sz="14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28" name="Oval 127"/>
          <p:cNvSpPr/>
          <p:nvPr>
            <p:custDataLst>
              <p:tags r:id="rId52"/>
            </p:custDataLst>
          </p:nvPr>
        </p:nvSpPr>
        <p:spPr bwMode="auto">
          <a:xfrm>
            <a:off x="3312692" y="5503833"/>
            <a:ext cx="465067" cy="41926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1.8 </a:t>
            </a:r>
            <a:r>
              <a:rPr lang="th-TH" sz="14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บ</a:t>
            </a:r>
            <a:r>
              <a:rPr lang="en-US" sz="14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.</a:t>
            </a:r>
            <a:endParaRPr lang="th-TH" sz="14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29" name="Oval 128"/>
          <p:cNvSpPr/>
          <p:nvPr>
            <p:custDataLst>
              <p:tags r:id="rId53"/>
            </p:custDataLst>
          </p:nvPr>
        </p:nvSpPr>
        <p:spPr bwMode="auto">
          <a:xfrm>
            <a:off x="4298165" y="5503833"/>
            <a:ext cx="465067" cy="41926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10.4 </a:t>
            </a:r>
            <a:r>
              <a:rPr lang="th-TH" sz="14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บ</a:t>
            </a:r>
            <a:r>
              <a:rPr lang="en-US" sz="14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.</a:t>
            </a:r>
            <a:endParaRPr lang="th-TH" sz="14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131" name="Straight Arrow Connector 130"/>
          <p:cNvCxnSpPr>
            <a:stCxn id="127" idx="0"/>
          </p:cNvCxnSpPr>
          <p:nvPr>
            <p:custDataLst>
              <p:tags r:id="rId54"/>
            </p:custDataLst>
          </p:nvPr>
        </p:nvCxnSpPr>
        <p:spPr bwMode="auto">
          <a:xfrm flipV="1">
            <a:off x="2683479" y="5208947"/>
            <a:ext cx="2308" cy="29488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</p:spPr>
      </p:cxnSp>
      <p:cxnSp>
        <p:nvCxnSpPr>
          <p:cNvPr id="132" name="Straight Arrow Connector 131"/>
          <p:cNvCxnSpPr>
            <a:stCxn id="129" idx="0"/>
          </p:cNvCxnSpPr>
          <p:nvPr>
            <p:custDataLst>
              <p:tags r:id="rId55"/>
            </p:custDataLst>
          </p:nvPr>
        </p:nvCxnSpPr>
        <p:spPr bwMode="auto">
          <a:xfrm flipV="1">
            <a:off x="4530699" y="5208947"/>
            <a:ext cx="2305" cy="29488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</p:spPr>
      </p:cxnSp>
      <p:cxnSp>
        <p:nvCxnSpPr>
          <p:cNvPr id="133" name="Straight Arrow Connector 132"/>
          <p:cNvCxnSpPr>
            <a:stCxn id="128" idx="0"/>
          </p:cNvCxnSpPr>
          <p:nvPr>
            <p:custDataLst>
              <p:tags r:id="rId56"/>
            </p:custDataLst>
          </p:nvPr>
        </p:nvCxnSpPr>
        <p:spPr bwMode="auto">
          <a:xfrm flipV="1">
            <a:off x="3545226" y="5208947"/>
            <a:ext cx="2308" cy="29488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69" name="Rounded Rectangle 68"/>
          <p:cNvSpPr/>
          <p:nvPr>
            <p:custDataLst>
              <p:tags r:id="rId57"/>
            </p:custDataLst>
          </p:nvPr>
        </p:nvSpPr>
        <p:spPr bwMode="auto">
          <a:xfrm>
            <a:off x="5959870" y="4979274"/>
            <a:ext cx="1967928" cy="900845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tIns="72000" rtlCol="0" anchor="ctr"/>
          <a:lstStyle/>
          <a:p>
            <a:pPr>
              <a:lnSpc>
                <a:spcPts val="1700"/>
              </a:lnSpc>
            </a:pPr>
            <a:r>
              <a:rPr lang="th-TH" sz="16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ัฐบาลอุดหนุนจำนวนส่วนต่าง</a:t>
            </a:r>
            <a:r>
              <a:rPr lang="en-US" sz="16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 </a:t>
            </a:r>
            <a:r>
              <a:rPr lang="th-TH" sz="16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(ขึ้นอยู่กับจำนวนผู้โดยสารที่เปลี่ยนแปลง)</a:t>
            </a:r>
            <a:endParaRPr lang="en-US" sz="1600" b="1" dirty="0" smtClean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78" name="Straight Connector 77"/>
          <p:cNvCxnSpPr/>
          <p:nvPr/>
        </p:nvCxnSpPr>
        <p:spPr bwMode="auto">
          <a:xfrm>
            <a:off x="6115798" y="2024135"/>
            <a:ext cx="0" cy="230706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80058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64624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12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Picture 2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95536" y="404664"/>
            <a:ext cx="7749366" cy="50405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th-TH" sz="2400" dirty="0">
                <a:latin typeface="Cordia New" pitchFamily="34" charset="-34"/>
                <a:cs typeface="Cordia New" pitchFamily="34" charset="-34"/>
              </a:rPr>
              <a:t>แนวทางการเพิ่มมูลค่าเงินในบัตรโดยสาร </a:t>
            </a:r>
            <a:r>
              <a:rPr lang="en-US" sz="1600" b="0" dirty="0">
                <a:latin typeface="+mj-lt"/>
                <a:cs typeface="Cordia New" pitchFamily="34" charset="-34"/>
              </a:rPr>
              <a:t>(</a:t>
            </a:r>
            <a:r>
              <a:rPr lang="en-US" sz="1600" b="0" dirty="0" smtClean="0">
                <a:latin typeface="+mj-lt"/>
                <a:cs typeface="Cordia New" pitchFamily="34" charset="-34"/>
              </a:rPr>
              <a:t>Card Top-up)</a:t>
            </a:r>
            <a:endParaRPr lang="th-TH" sz="1600" b="0" dirty="0">
              <a:latin typeface="+mj-lt"/>
              <a:cs typeface="Cordia New" pitchFamily="34" charset="-34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803661" y="6357386"/>
            <a:ext cx="2967655" cy="281260"/>
          </a:xfrm>
        </p:spPr>
        <p:txBody>
          <a:bodyPr/>
          <a:lstStyle/>
          <a:p>
            <a:endParaRPr lang="th-TH"/>
          </a:p>
        </p:txBody>
      </p:sp>
      <p:pic>
        <p:nvPicPr>
          <p:cNvPr id="52226" name="Picture 2" descr="http://i1128.photobucket.com/albums/m491/gek4044/BTS_120811/DSCF0811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22" t="17061" r="26233" b="11093"/>
          <a:stretch/>
        </p:blipFill>
        <p:spPr bwMode="auto">
          <a:xfrm>
            <a:off x="4407000" y="3465087"/>
            <a:ext cx="723449" cy="1023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://a0.twimg.com/profile_images/853154558/Official_Logo_bts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1909" y="4253989"/>
            <a:ext cx="321198" cy="348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74" name="Picture 2" descr="http://t1.gstatic.com/images?q=tbn:ANd9GcScd7UmIBq6KKWw24IYELBmGE_kYLCwt1TiKztZz8d6fVpx9shVh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1533" y="4253995"/>
            <a:ext cx="350365" cy="345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>
            <p:custDataLst>
              <p:tags r:id="rId9"/>
            </p:custDataLst>
          </p:nvPr>
        </p:nvSpPr>
        <p:spPr bwMode="auto">
          <a:xfrm>
            <a:off x="4070040" y="3297872"/>
            <a:ext cx="3121359" cy="134276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800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6" name="Rectangle 25"/>
          <p:cNvSpPr/>
          <p:nvPr>
            <p:custDataLst>
              <p:tags r:id="rId10"/>
            </p:custDataLst>
          </p:nvPr>
        </p:nvSpPr>
        <p:spPr bwMode="auto">
          <a:xfrm>
            <a:off x="4082357" y="1736186"/>
            <a:ext cx="3109044" cy="1321841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800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pic>
        <p:nvPicPr>
          <p:cNvPr id="27" name="Picture 26" descr="http://i1184.photobucket.com/albums/z340/kenguigo/000.jpg"/>
          <p:cNvPicPr/>
          <p:nvPr>
            <p:custDataLst>
              <p:tags r:id="rId11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1347" y="3456808"/>
            <a:ext cx="1315361" cy="867732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0" name="Rectangle 29"/>
          <p:cNvSpPr/>
          <p:nvPr>
            <p:custDataLst>
              <p:tags r:id="rId12"/>
            </p:custDataLst>
          </p:nvPr>
        </p:nvSpPr>
        <p:spPr bwMode="auto">
          <a:xfrm>
            <a:off x="2485867" y="3295818"/>
            <a:ext cx="1420393" cy="131700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800" b="1" dirty="0" smtClean="0">
                <a:latin typeface="+mj-lt"/>
                <a:cs typeface="Cordia New" pitchFamily="34" charset="-34"/>
              </a:rPr>
              <a:t>ตู้ขายตั๋วอัตโนมัติ</a:t>
            </a:r>
            <a:r>
              <a:rPr lang="en-US" sz="1800" b="1" dirty="0" smtClean="0">
                <a:latin typeface="+mj-lt"/>
                <a:cs typeface="Cordia New" pitchFamily="34" charset="-34"/>
              </a:rPr>
              <a:t>,</a:t>
            </a:r>
          </a:p>
          <a:p>
            <a:pPr algn="ctr"/>
            <a:r>
              <a:rPr lang="en-US" sz="1200" b="1" dirty="0" smtClean="0">
                <a:latin typeface="+mj-lt"/>
                <a:cs typeface="Cordia New" pitchFamily="34" charset="-34"/>
              </a:rPr>
              <a:t>ATM</a:t>
            </a:r>
            <a:endParaRPr lang="th-TH" sz="1200" b="1" dirty="0" smtClean="0">
              <a:latin typeface="+mj-lt"/>
              <a:cs typeface="Cordia New" pitchFamily="34" charset="-34"/>
            </a:endParaRPr>
          </a:p>
        </p:txBody>
      </p:sp>
      <p:sp>
        <p:nvSpPr>
          <p:cNvPr id="31" name="Rectangle 30"/>
          <p:cNvSpPr/>
          <p:nvPr>
            <p:custDataLst>
              <p:tags r:id="rId13"/>
            </p:custDataLst>
          </p:nvPr>
        </p:nvSpPr>
        <p:spPr bwMode="auto">
          <a:xfrm>
            <a:off x="2485867" y="1714051"/>
            <a:ext cx="1420393" cy="131700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200" b="1" dirty="0" smtClean="0">
                <a:latin typeface="+mj-lt"/>
                <a:cs typeface="Cordia New" pitchFamily="34" charset="-34"/>
              </a:rPr>
              <a:t>Internet Bank,</a:t>
            </a:r>
          </a:p>
          <a:p>
            <a:pPr algn="ctr"/>
            <a:r>
              <a:rPr lang="en-US" sz="1200" b="1" dirty="0" smtClean="0">
                <a:latin typeface="+mj-lt"/>
                <a:cs typeface="Cordia New" pitchFamily="34" charset="-34"/>
              </a:rPr>
              <a:t>Credit card,</a:t>
            </a:r>
          </a:p>
          <a:p>
            <a:pPr algn="ctr"/>
            <a:r>
              <a:rPr lang="en-US" sz="1200" b="1" dirty="0" smtClean="0">
                <a:latin typeface="+mj-lt"/>
                <a:cs typeface="Cordia New" pitchFamily="34" charset="-34"/>
              </a:rPr>
              <a:t>Auto debit,</a:t>
            </a:r>
            <a:endParaRPr lang="th-TH" sz="1200" b="1" dirty="0" smtClean="0">
              <a:latin typeface="+mj-lt"/>
              <a:cs typeface="Cordia New" pitchFamily="34" charset="-34"/>
            </a:endParaRPr>
          </a:p>
        </p:txBody>
      </p:sp>
      <p:grpSp>
        <p:nvGrpSpPr>
          <p:cNvPr id="4" name="Group 3"/>
          <p:cNvGrpSpPr/>
          <p:nvPr>
            <p:custDataLst>
              <p:tags r:id="rId14"/>
            </p:custDataLst>
          </p:nvPr>
        </p:nvGrpSpPr>
        <p:grpSpPr>
          <a:xfrm>
            <a:off x="4262984" y="5054476"/>
            <a:ext cx="1449452" cy="985187"/>
            <a:chOff x="5111451" y="4963081"/>
            <a:chExt cx="1929221" cy="1311285"/>
          </a:xfrm>
        </p:grpSpPr>
        <p:pic>
          <p:nvPicPr>
            <p:cNvPr id="32" name="Picture 2" descr="http://www.thaifranchisecenter.com/images/Directory/franchisethai/07store/01_7eleven_front012.jpg"/>
            <p:cNvPicPr>
              <a:picLocks noChangeAspect="1" noChangeArrowheads="1"/>
            </p:cNvPicPr>
            <p:nvPr>
              <p:custDataLst>
                <p:tags r:id="rId21"/>
              </p:custDataLst>
            </p:nvPr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1451" y="4963081"/>
              <a:ext cx="1929221" cy="1053949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3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 rotWithShape="1">
            <a:blip r:embed="rId33" cstate="print">
              <a:extLst>
                <a:ext uri="{BEBA8EAE-BF5A-486C-A8C5-ECC9F3942E4B}">
                  <a14:imgProps xmlns:a14="http://schemas.microsoft.com/office/drawing/2010/main">
                    <a14:imgLayer r:embed="rId34">
                      <a14:imgEffect>
                        <a14:backgroundRemoval t="15556" b="91667" l="2500" r="51875">
                          <a14:foregroundMark x1="6875" y1="57778" x2="48125" y2="55000"/>
                          <a14:foregroundMark x1="6563" y1="69444" x2="47188" y2="68889"/>
                          <a14:foregroundMark x1="29688" y1="28889" x2="33125" y2="38333"/>
                          <a14:foregroundMark x1="25938" y1="33889" x2="29375" y2="47778"/>
                          <a14:foregroundMark x1="30938" y1="58333" x2="35000" y2="7111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776" t="10556" r="46667"/>
            <a:stretch/>
          </p:blipFill>
          <p:spPr bwMode="auto">
            <a:xfrm>
              <a:off x="6392792" y="5753870"/>
              <a:ext cx="614780" cy="520496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4" descr="http://upload.wikimedia.org/wikipedia/en/thumb/d/d4/7-eleven-brand.svg/170px-7-eleven-brand.svg.png"/>
            <p:cNvPicPr>
              <a:picLocks noChangeAspect="1" noChangeArrowheads="1"/>
            </p:cNvPicPr>
            <p:nvPr>
              <p:custDataLst>
                <p:tags r:id="rId23"/>
              </p:custDataLst>
            </p:nvPr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3540" y="5758690"/>
              <a:ext cx="429362" cy="414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8" descr="http://t1.gstatic.com/images?q=tbn:ANd9GcQ3VEybdNKzbqlB00qkaCgXnQtzEqLd7NjuOob4RbCOanFJYQAz"/>
            <p:cNvPicPr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28235" y="5766859"/>
              <a:ext cx="531288" cy="4076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tangle 35"/>
          <p:cNvSpPr/>
          <p:nvPr>
            <p:custDataLst>
              <p:tags r:id="rId15"/>
            </p:custDataLst>
          </p:nvPr>
        </p:nvSpPr>
        <p:spPr bwMode="auto">
          <a:xfrm>
            <a:off x="4082359" y="4813165"/>
            <a:ext cx="3096344" cy="1369757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800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7" name="Rectangle 36"/>
          <p:cNvSpPr/>
          <p:nvPr>
            <p:custDataLst>
              <p:tags r:id="rId16"/>
            </p:custDataLst>
          </p:nvPr>
        </p:nvSpPr>
        <p:spPr bwMode="auto">
          <a:xfrm>
            <a:off x="2485867" y="4832428"/>
            <a:ext cx="1420393" cy="131700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800" b="1" dirty="0" smtClean="0">
                <a:latin typeface="+mj-lt"/>
                <a:cs typeface="Cordia New" pitchFamily="34" charset="-34"/>
              </a:rPr>
              <a:t>ร้านค้าสะดวกซื้อ และ </a:t>
            </a:r>
            <a:r>
              <a:rPr lang="en-US" sz="1200" b="1" dirty="0" smtClean="0">
                <a:latin typeface="+mj-lt"/>
                <a:cs typeface="Cordia New" pitchFamily="34" charset="-34"/>
              </a:rPr>
              <a:t>KIOSK</a:t>
            </a:r>
            <a:r>
              <a:rPr lang="th-TH" sz="1200" b="1" dirty="0" smtClean="0">
                <a:latin typeface="+mj-lt"/>
                <a:cs typeface="Cordia New" pitchFamily="34" charset="-34"/>
              </a:rPr>
              <a:t> </a:t>
            </a:r>
          </a:p>
        </p:txBody>
      </p:sp>
      <p:sp>
        <p:nvSpPr>
          <p:cNvPr id="39" name="Rectangle 38"/>
          <p:cNvSpPr/>
          <p:nvPr>
            <p:custDataLst>
              <p:tags r:id="rId17"/>
            </p:custDataLst>
          </p:nvPr>
        </p:nvSpPr>
        <p:spPr bwMode="auto">
          <a:xfrm>
            <a:off x="2483768" y="1124744"/>
            <a:ext cx="4707635" cy="44264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20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ช่องทางการเติมเงิน</a:t>
            </a:r>
          </a:p>
        </p:txBody>
      </p:sp>
      <p:pic>
        <p:nvPicPr>
          <p:cNvPr id="54311" name="Picture 39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2" t="20588" r="6357" b="16099"/>
          <a:stretch/>
        </p:blipFill>
        <p:spPr bwMode="auto">
          <a:xfrm>
            <a:off x="4118971" y="4262388"/>
            <a:ext cx="420979" cy="2926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315" name="Picture 43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9173" y="1984167"/>
            <a:ext cx="668944" cy="835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327" name="Picture 55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7138" y="5054476"/>
            <a:ext cx="1115233" cy="836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463" name="Picture 191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821" y="2042223"/>
            <a:ext cx="1084563" cy="779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464" name="Picture 192"/>
          <p:cNvPicPr>
            <a:picLocks noChangeAspect="1" noChangeArrowheads="1"/>
          </p:cNvPicPr>
          <p:nvPr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6" t="7896" r="24649" b="21652"/>
          <a:stretch/>
        </p:blipFill>
        <p:spPr bwMode="auto">
          <a:xfrm>
            <a:off x="5394731" y="1958126"/>
            <a:ext cx="588905" cy="9549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68588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0926" y="404664"/>
            <a:ext cx="8369546" cy="504056"/>
          </a:xfrm>
        </p:spPr>
        <p:txBody>
          <a:bodyPr/>
          <a:lstStyle/>
          <a:p>
            <a:r>
              <a:rPr lang="th-TH" sz="3600" dirty="0" smtClean="0">
                <a:latin typeface="TH Sarabun PSK"/>
                <a:cs typeface="TH SarabunPSK" panose="020B0500040200020003" pitchFamily="34" charset="-34"/>
              </a:rPr>
              <a:t>ปัจจัยสำคัญในการพัฒนาระบบตั๋วร่วม (</a:t>
            </a:r>
            <a:r>
              <a:rPr lang="en-US" sz="36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Key Success Factors</a:t>
            </a:r>
            <a:r>
              <a:rPr lang="th-TH" sz="3600" dirty="0" smtClean="0">
                <a:latin typeface="TH Sarabun PSK"/>
                <a:cs typeface="TH SarabunPSK" panose="020B0500040200020003" pitchFamily="34" charset="-34"/>
              </a:rPr>
              <a:t>)</a:t>
            </a:r>
            <a:endParaRPr lang="th-TH" sz="3600" dirty="0">
              <a:latin typeface="TH Sarabun PSK"/>
              <a:cs typeface="TH SarabunPSK" panose="020B0500040200020003" pitchFamily="34" charset="-34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  <a:latin typeface="TH Sarabun PSK"/>
                <a:cs typeface="TH SarabunPSK" panose="020B0500040200020003" pitchFamily="34" charset="-34"/>
              </a:rPr>
              <a:pPr>
                <a:defRPr/>
              </a:pPr>
              <a:t>12</a:t>
            </a:fld>
            <a:endParaRPr lang="th-TH">
              <a:solidFill>
                <a:prstClr val="black"/>
              </a:solidFill>
              <a:latin typeface="TH Sarabun PSK"/>
              <a:cs typeface="TH SarabunPSK" panose="020B0500040200020003" pitchFamily="34" charset="-3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th-TH">
              <a:latin typeface="TH Sarabun PSK"/>
              <a:cs typeface="TH SarabunPSK" panose="020B0500040200020003" pitchFamily="34" charset="-34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1043608" y="2219249"/>
            <a:ext cx="1944216" cy="69703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en-US" sz="1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Maximum </a:t>
            </a:r>
          </a:p>
          <a:p>
            <a:pPr algn="ctr"/>
            <a:r>
              <a:rPr lang="en-US" sz="1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ard holders</a:t>
            </a:r>
            <a:endParaRPr lang="th-TH" sz="18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058391" y="2237687"/>
            <a:ext cx="5402041" cy="8312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th-TH" sz="2000" dirty="0" smtClean="0">
                <a:solidFill>
                  <a:prstClr val="black"/>
                </a:solidFill>
                <a:latin typeface="TH Sarabun PSK"/>
                <a:cs typeface="TH SarabunPSK" panose="020B0500040200020003" pitchFamily="34" charset="-34"/>
              </a:rPr>
              <a:t>จำเป็นต้องมีการสนับสนุนให้ประชาชนใช้ตั๋วร่วมมากที่สุด โดยกำหนดให้มีผลิตภัณฑ์ที่หลากหลายและตรงความต้องการของผู้ใช้บริการ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539552" y="4198775"/>
            <a:ext cx="432805" cy="43280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4</a:t>
            </a:r>
            <a:endParaRPr lang="th-TH" dirty="0" smtClean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1" name="Rounded Rectangle 20"/>
          <p:cNvSpPr/>
          <p:nvPr/>
        </p:nvSpPr>
        <p:spPr bwMode="auto">
          <a:xfrm>
            <a:off x="1043608" y="3140968"/>
            <a:ext cx="1944216" cy="69703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en-US" sz="1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Maximum</a:t>
            </a:r>
          </a:p>
          <a:p>
            <a:pPr algn="ctr"/>
            <a:r>
              <a:rPr lang="en-US" sz="1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Usage Coverage</a:t>
            </a:r>
            <a:endParaRPr lang="th-TH" sz="18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58391" y="3140968"/>
            <a:ext cx="5402041" cy="8312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th-TH" sz="2000" dirty="0" smtClean="0">
                <a:solidFill>
                  <a:prstClr val="black"/>
                </a:solidFill>
                <a:latin typeface="TH Sarabun PSK"/>
                <a:cs typeface="TH SarabunPSK" panose="020B0500040200020003" pitchFamily="34" charset="-34"/>
              </a:rPr>
              <a:t>ระบบตั๋วร่วมต้องครอบคลุมการใช้งานที่หลากหลาย ทั้งในการใช้บริการระบบขนส่งมวลชน และในการใช้งานในส่วนค้าปลีก และเชิงพาณิชย์ต่างๆ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539552" y="5192502"/>
            <a:ext cx="432805" cy="43280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5</a:t>
            </a:r>
            <a:endParaRPr lang="th-TH" dirty="0" smtClean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539552" y="1415263"/>
            <a:ext cx="432805" cy="43280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</a:t>
            </a:r>
            <a:endParaRPr lang="th-TH" dirty="0" smtClean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539552" y="2351367"/>
            <a:ext cx="432805" cy="43280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</a:t>
            </a:r>
            <a:endParaRPr lang="th-TH" dirty="0" smtClean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0" name="Rounded Rectangle 29"/>
          <p:cNvSpPr/>
          <p:nvPr/>
        </p:nvSpPr>
        <p:spPr bwMode="auto">
          <a:xfrm>
            <a:off x="1043608" y="1283145"/>
            <a:ext cx="1944216" cy="69703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en-US" sz="1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Easy to </a:t>
            </a:r>
          </a:p>
          <a:p>
            <a:pPr algn="ctr"/>
            <a:r>
              <a:rPr lang="en-US" sz="1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use and Top-up</a:t>
            </a:r>
            <a:endParaRPr lang="th-TH" sz="18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058391" y="1268760"/>
            <a:ext cx="5402041" cy="8312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th-TH" sz="2000" dirty="0" smtClean="0">
                <a:solidFill>
                  <a:prstClr val="black"/>
                </a:solidFill>
                <a:latin typeface="TH Sarabun PSK"/>
                <a:cs typeface="TH SarabunPSK" panose="020B0500040200020003" pitchFamily="34" charset="-34"/>
              </a:rPr>
              <a:t>ระบบตั๋วร่วมต้องมีความง่ายในการใช้งาน อีกทั้งยังต้องสะดวกต่อผู้ใช้บัตรในการเพิ่มมูลค่าเงินในตั๋ว (</a:t>
            </a:r>
            <a:r>
              <a:rPr lang="en-US" sz="1400" dirty="0" smtClean="0">
                <a:solidFill>
                  <a:prstClr val="black"/>
                </a:solidFill>
                <a:latin typeface="TH Sarabun PSK"/>
                <a:cs typeface="TH SarabunPSK" panose="020B0500040200020003" pitchFamily="34" charset="-34"/>
              </a:rPr>
              <a:t>Top-up</a:t>
            </a:r>
            <a:r>
              <a:rPr lang="th-TH" sz="2000" dirty="0" smtClean="0">
                <a:solidFill>
                  <a:prstClr val="black"/>
                </a:solidFill>
                <a:latin typeface="TH Sarabun PSK"/>
                <a:cs typeface="TH SarabunPSK" panose="020B0500040200020003" pitchFamily="34" charset="-34"/>
              </a:rPr>
              <a:t>)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539552" y="3262071"/>
            <a:ext cx="432805" cy="43280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</a:t>
            </a:r>
            <a:endParaRPr lang="th-TH" dirty="0" smtClean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7" name="Rounded Rectangle 36"/>
          <p:cNvSpPr/>
          <p:nvPr/>
        </p:nvSpPr>
        <p:spPr bwMode="auto">
          <a:xfrm>
            <a:off x="1043608" y="4091457"/>
            <a:ext cx="1944216" cy="69703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en-US" sz="1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Security &amp;Speed</a:t>
            </a:r>
            <a:endParaRPr lang="th-TH" sz="18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058391" y="4077072"/>
            <a:ext cx="5402041" cy="8312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th-TH" sz="2000" dirty="0" smtClean="0">
                <a:solidFill>
                  <a:prstClr val="black"/>
                </a:solidFill>
                <a:latin typeface="TH Sarabun PSK"/>
                <a:cs typeface="TH SarabunPSK" panose="020B0500040200020003" pitchFamily="34" charset="-34"/>
              </a:rPr>
              <a:t>มาตรฐานระบบต้องสามารถประมวลผลการอ่านบัตรได้อย่างรวดเร็ว และต้องมีความปลอดภัยในการทำรายการสูง</a:t>
            </a:r>
          </a:p>
        </p:txBody>
      </p:sp>
      <p:sp>
        <p:nvSpPr>
          <p:cNvPr id="39" name="Rounded Rectangle 38"/>
          <p:cNvSpPr/>
          <p:nvPr/>
        </p:nvSpPr>
        <p:spPr bwMode="auto">
          <a:xfrm>
            <a:off x="1043608" y="5027561"/>
            <a:ext cx="1944216" cy="69703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en-US" sz="1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System Reliability</a:t>
            </a:r>
            <a:endParaRPr lang="th-TH" sz="18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058391" y="5013176"/>
            <a:ext cx="5402041" cy="8312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th-TH" sz="2000" dirty="0" smtClean="0">
                <a:solidFill>
                  <a:prstClr val="black"/>
                </a:solidFill>
                <a:latin typeface="TH Sarabun PSK"/>
                <a:cs typeface="TH SarabunPSK" panose="020B0500040200020003" pitchFamily="34" charset="-34"/>
              </a:rPr>
              <a:t>การดำเนินการของระบบตั๋วร่วมต้องมีความน่าเชื่อถือ และในกรณีที่ระบบเกิดขัดข้อง จะต้องสามารถกอบกู้ระบบคืนมาได้ในระยะเวลาอันสั้น</a:t>
            </a:r>
          </a:p>
        </p:txBody>
      </p:sp>
    </p:spTree>
    <p:extLst>
      <p:ext uri="{BB962C8B-B14F-4D97-AF65-F5344CB8AC3E}">
        <p14:creationId xmlns:p14="http://schemas.microsoft.com/office/powerpoint/2010/main" val="1436406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1" name="Picture 3" descr="C:\Users\Pakhawat\Desktop\Picture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066799"/>
            <a:ext cx="7772400" cy="5249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itle 1"/>
          <p:cNvSpPr>
            <a:spLocks noGrp="1"/>
          </p:cNvSpPr>
          <p:nvPr>
            <p:ph type="title"/>
          </p:nvPr>
        </p:nvSpPr>
        <p:spPr>
          <a:xfrm>
            <a:off x="476250" y="274638"/>
            <a:ext cx="7724042" cy="715962"/>
          </a:xfrm>
        </p:spPr>
        <p:txBody>
          <a:bodyPr/>
          <a:lstStyle/>
          <a:p>
            <a:r>
              <a:rPr lang="th-TH" sz="3600" dirty="0" smtClean="0">
                <a:latin typeface="TH Sarabun PSK"/>
                <a:cs typeface="TH SarabunPSK" panose="020B0500040200020003" pitchFamily="34" charset="-34"/>
              </a:rPr>
              <a:t>ภาพรวมของระบบ</a:t>
            </a:r>
            <a:endParaRPr lang="en-US" sz="3600" dirty="0">
              <a:latin typeface="TH Sarabun PSK"/>
              <a:cs typeface="TH SarabunPSK" panose="020B05000402000200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821558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th-TH" sz="3600" dirty="0">
                <a:latin typeface="TH Sarabun PSK"/>
                <a:ea typeface="+mj-ea"/>
                <a:cs typeface="TH SarabunPSK" panose="020B0500040200020003" pitchFamily="34" charset="-34"/>
              </a:rPr>
              <a:t>แนวทางในการ เชื่อมต่อระบบตั๋วร่วม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/>
              <a:pPr>
                <a:defRPr/>
              </a:pPr>
              <a:t>14</a:t>
            </a:fld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th-TH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814" y="1052736"/>
            <a:ext cx="8458200" cy="5182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9040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/>
        </p:nvSpPr>
        <p:spPr>
          <a:xfrm>
            <a:off x="433206" y="368904"/>
            <a:ext cx="68580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th-TH" sz="3600" b="1" dirty="0">
                <a:latin typeface="TH Sarabun PSK"/>
                <a:ea typeface="+mj-ea"/>
                <a:cs typeface="TH SarabunPSK" panose="020B0500040200020003" pitchFamily="34" charset="-34"/>
                <a:sym typeface="Cordia New"/>
              </a:rPr>
              <a:t>แนวทางการใช้งานมาตรฐานตั๋วร่วม</a:t>
            </a:r>
            <a:endParaRPr lang="en-US" sz="3600" b="1" dirty="0">
              <a:latin typeface="TH Sarabun PSK"/>
              <a:ea typeface="+mj-ea"/>
              <a:cs typeface="TH SarabunPSK" panose="020B0500040200020003" pitchFamily="34" charset="-34"/>
              <a:sym typeface="Cordia New"/>
            </a:endParaRPr>
          </a:p>
        </p:txBody>
      </p:sp>
      <p:sp>
        <p:nvSpPr>
          <p:cNvPr id="75" name="TextBox 24"/>
          <p:cNvSpPr txBox="1">
            <a:spLocks noChangeArrowheads="1"/>
          </p:cNvSpPr>
          <p:nvPr/>
        </p:nvSpPr>
        <p:spPr bwMode="auto">
          <a:xfrm>
            <a:off x="694264" y="4935936"/>
            <a:ext cx="2277536" cy="1322471"/>
          </a:xfrm>
          <a:prstGeom prst="rect">
            <a:avLst/>
          </a:prstGeom>
          <a:solidFill>
            <a:srgbClr val="5B9BD5">
              <a:lumMod val="40000"/>
              <a:lumOff val="60000"/>
            </a:srgbClr>
          </a:solidFill>
          <a:ln>
            <a:noFill/>
          </a:ln>
          <a:effectLst/>
          <a:extLst/>
        </p:spPr>
        <p:txBody>
          <a:bodyPr wrap="square" anchor="ctr">
            <a:no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altLang="en-US" sz="2400" b="1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สนข</a:t>
            </a:r>
            <a:r>
              <a:rPr kumimoji="0" lang="en-US" altLang="en-US" sz="2400" b="1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. </a:t>
            </a:r>
            <a:r>
              <a:rPr kumimoji="0" lang="th-TH" altLang="en-US" sz="2400" b="1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เป็นผู้กำหนดมาตรฐานสำหรับตั๋วร่วม</a:t>
            </a:r>
            <a:endParaRPr kumimoji="0" lang="th-TH" altLang="en-US" sz="24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dia New" panose="020B0304020202020204" pitchFamily="34" charset="-34"/>
              <a:cs typeface="Cordia New" panose="020B0304020202020204" pitchFamily="34" charset="-34"/>
            </a:endParaRPr>
          </a:p>
        </p:txBody>
      </p:sp>
      <p:sp>
        <p:nvSpPr>
          <p:cNvPr id="76" name="Pentagon 75"/>
          <p:cNvSpPr/>
          <p:nvPr/>
        </p:nvSpPr>
        <p:spPr>
          <a:xfrm>
            <a:off x="5619395" y="1124744"/>
            <a:ext cx="3181705" cy="1016488"/>
          </a:xfrm>
          <a:prstGeom prst="homePlate">
            <a:avLst/>
          </a:prstGeom>
          <a:solidFill>
            <a:srgbClr val="ED7D31">
              <a:lumMod val="50000"/>
            </a:srgb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ordia New" pitchFamily="34" charset="-34"/>
                <a:ea typeface="+mn-ea"/>
                <a:cs typeface="Cordia New" panose="020B0304020202020204" pitchFamily="34" charset="-34"/>
              </a:rPr>
              <a:t>ขั้นที่ </a:t>
            </a:r>
            <a:r>
              <a:rPr kumimoji="0" lang="en-US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ordia New" pitchFamily="34" charset="-34"/>
                <a:ea typeface="+mn-ea"/>
                <a:cs typeface="Cordia New" pitchFamily="34" charset="-34"/>
              </a:rPr>
              <a:t>3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ordia New" pitchFamily="34" charset="-34"/>
                <a:ea typeface="+mn-ea"/>
                <a:cs typeface="Cordia New" panose="020B0304020202020204" pitchFamily="34" charset="-34"/>
              </a:rPr>
              <a:t>การใช้งาน</a:t>
            </a:r>
          </a:p>
        </p:txBody>
      </p:sp>
      <p:sp>
        <p:nvSpPr>
          <p:cNvPr id="77" name="Pentagon 76"/>
          <p:cNvSpPr/>
          <p:nvPr/>
        </p:nvSpPr>
        <p:spPr>
          <a:xfrm>
            <a:off x="2971800" y="1124744"/>
            <a:ext cx="3169920" cy="1016488"/>
          </a:xfrm>
          <a:prstGeom prst="homePlate">
            <a:avLst/>
          </a:prstGeom>
          <a:solidFill>
            <a:srgbClr val="5B9BD5">
              <a:lumMod val="75000"/>
            </a:srgb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ordia New" pitchFamily="34" charset="-34"/>
                <a:ea typeface="+mn-ea"/>
                <a:cs typeface="Cordia New" panose="020B0304020202020204" pitchFamily="34" charset="-34"/>
              </a:rPr>
              <a:t>ขั้นที่ </a:t>
            </a:r>
            <a:r>
              <a:rPr kumimoji="0" lang="en-US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ordia New" pitchFamily="34" charset="-34"/>
                <a:ea typeface="+mn-ea"/>
                <a:cs typeface="Cordia New" pitchFamily="34" charset="-34"/>
              </a:rPr>
              <a:t>2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ordia New" pitchFamily="34" charset="-34"/>
                <a:ea typeface="+mn-ea"/>
                <a:cs typeface="Cordia New" panose="020B0304020202020204" pitchFamily="34" charset="-34"/>
              </a:rPr>
              <a:t>การออกแบบบัตร</a:t>
            </a:r>
          </a:p>
        </p:txBody>
      </p:sp>
      <p:sp>
        <p:nvSpPr>
          <p:cNvPr id="78" name="Pentagon 77"/>
          <p:cNvSpPr/>
          <p:nvPr/>
        </p:nvSpPr>
        <p:spPr>
          <a:xfrm>
            <a:off x="523165" y="1124744"/>
            <a:ext cx="2968716" cy="1016488"/>
          </a:xfrm>
          <a:prstGeom prst="homePlate">
            <a:avLst/>
          </a:prstGeom>
          <a:solidFill>
            <a:srgbClr val="5B9BD5">
              <a:lumMod val="50000"/>
            </a:srgbClr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ordia New" pitchFamily="34" charset="-34"/>
                <a:ea typeface="+mn-ea"/>
                <a:cs typeface="Cordia New" panose="020B0304020202020204" pitchFamily="34" charset="-34"/>
              </a:rPr>
              <a:t>ขั้นที่ </a:t>
            </a:r>
            <a:r>
              <a:rPr kumimoji="0" lang="en-US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ordia New" pitchFamily="34" charset="-34"/>
                <a:ea typeface="+mn-ea"/>
                <a:cs typeface="Cordia New" pitchFamily="34" charset="-34"/>
              </a:rPr>
              <a:t>1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ordia New" pitchFamily="34" charset="-34"/>
                <a:ea typeface="+mn-ea"/>
                <a:cs typeface="Cordia New" panose="020B0304020202020204" pitchFamily="34" charset="-34"/>
              </a:rPr>
              <a:t>การกำหนดมาตรฐาน</a:t>
            </a:r>
          </a:p>
        </p:txBody>
      </p:sp>
      <p:sp>
        <p:nvSpPr>
          <p:cNvPr id="79" name="Rectangle 78"/>
          <p:cNvSpPr/>
          <p:nvPr/>
        </p:nvSpPr>
        <p:spPr>
          <a:xfrm>
            <a:off x="655320" y="2276873"/>
            <a:ext cx="2316480" cy="2519681"/>
          </a:xfrm>
          <a:prstGeom prst="rect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h-TH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ordia New" panose="020B0304020202020204" pitchFamily="34" charset="-34"/>
            </a:endParaRPr>
          </a:p>
        </p:txBody>
      </p:sp>
      <p:sp>
        <p:nvSpPr>
          <p:cNvPr id="80" name="TextBox 24"/>
          <p:cNvSpPr txBox="1">
            <a:spLocks noChangeArrowheads="1"/>
          </p:cNvSpPr>
          <p:nvPr/>
        </p:nvSpPr>
        <p:spPr bwMode="auto">
          <a:xfrm>
            <a:off x="3491881" y="2411284"/>
            <a:ext cx="1994519" cy="451340"/>
          </a:xfrm>
          <a:prstGeom prst="rect">
            <a:avLst/>
          </a:prstGeom>
          <a:solidFill>
            <a:srgbClr val="5B9BD5">
              <a:lumMod val="75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anchor="ctr">
            <a:no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CTC</a:t>
            </a:r>
            <a:endParaRPr kumimoji="0" lang="th-TH" altLang="en-US" sz="3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dia New" panose="020B0304020202020204" pitchFamily="34" charset="-34"/>
              <a:cs typeface="Cordia New" panose="020B0304020202020204" pitchFamily="34" charset="-34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3302915" y="2276872"/>
            <a:ext cx="2316480" cy="2533376"/>
          </a:xfrm>
          <a:prstGeom prst="rect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h-TH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ordia New" panose="020B0304020202020204" pitchFamily="34" charset="-34"/>
            </a:endParaRPr>
          </a:p>
        </p:txBody>
      </p:sp>
      <p:sp>
        <p:nvSpPr>
          <p:cNvPr id="82" name="TextBox 24"/>
          <p:cNvSpPr txBox="1">
            <a:spLocks noChangeArrowheads="1"/>
          </p:cNvSpPr>
          <p:nvPr/>
        </p:nvSpPr>
        <p:spPr bwMode="auto">
          <a:xfrm>
            <a:off x="3491881" y="3165766"/>
            <a:ext cx="1994519" cy="451340"/>
          </a:xfrm>
          <a:prstGeom prst="rect">
            <a:avLst/>
          </a:prstGeom>
          <a:solidFill>
            <a:srgbClr val="70AD47">
              <a:lumMod val="75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anchor="ctr">
            <a:no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Co-issuer</a:t>
            </a:r>
            <a:endParaRPr kumimoji="0" lang="th-TH" altLang="en-US" sz="3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dia New" panose="020B0304020202020204" pitchFamily="34" charset="-34"/>
              <a:cs typeface="Cordia New" panose="020B0304020202020204" pitchFamily="34" charset="-34"/>
            </a:endParaRPr>
          </a:p>
        </p:txBody>
      </p:sp>
      <p:sp>
        <p:nvSpPr>
          <p:cNvPr id="83" name="TextBox 24"/>
          <p:cNvSpPr txBox="1">
            <a:spLocks noChangeArrowheads="1"/>
          </p:cNvSpPr>
          <p:nvPr/>
        </p:nvSpPr>
        <p:spPr bwMode="auto">
          <a:xfrm>
            <a:off x="3491881" y="3978551"/>
            <a:ext cx="1994519" cy="451340"/>
          </a:xfrm>
          <a:prstGeom prst="rect">
            <a:avLst/>
          </a:prstGeom>
          <a:solidFill>
            <a:srgbClr val="7030A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anchor="ctr">
            <a:no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3600" b="1" dirty="0" smtClean="0">
                <a:solidFill>
                  <a:prstClr val="white"/>
                </a:solidFill>
                <a:latin typeface="Cordia New" panose="020B0304020202020204" pitchFamily="34" charset="-34"/>
                <a:cs typeface="Cordia New" panose="020B0304020202020204" pitchFamily="34" charset="-34"/>
              </a:rPr>
              <a:t>Co-Branded</a:t>
            </a:r>
            <a:endParaRPr lang="th-TH" altLang="en-US" sz="3600" b="1" dirty="0">
              <a:solidFill>
                <a:prstClr val="white"/>
              </a:solidFill>
              <a:latin typeface="Cordia New" panose="020B0304020202020204" pitchFamily="34" charset="-34"/>
              <a:cs typeface="Cordia New" panose="020B0304020202020204" pitchFamily="34" charset="-34"/>
            </a:endParaRPr>
          </a:p>
        </p:txBody>
      </p:sp>
      <p:sp>
        <p:nvSpPr>
          <p:cNvPr id="84" name="TextBox 24"/>
          <p:cNvSpPr txBox="1">
            <a:spLocks noChangeArrowheads="1"/>
          </p:cNvSpPr>
          <p:nvPr/>
        </p:nvSpPr>
        <p:spPr bwMode="auto">
          <a:xfrm>
            <a:off x="3322387" y="4935936"/>
            <a:ext cx="2277536" cy="1322471"/>
          </a:xfrm>
          <a:prstGeom prst="rect">
            <a:avLst/>
          </a:prstGeom>
          <a:solidFill>
            <a:srgbClr val="5B9BD5">
              <a:lumMod val="20000"/>
              <a:lumOff val="80000"/>
            </a:srgbClr>
          </a:solidFill>
          <a:ln>
            <a:noFill/>
          </a:ln>
          <a:effectLst/>
          <a:extLst/>
        </p:spPr>
        <p:txBody>
          <a:bodyPr wrap="square" anchor="ctr">
            <a:no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altLang="en-US" sz="2400" b="1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การออกบัตรทำได้ </a:t>
            </a:r>
            <a:r>
              <a:rPr kumimoji="0" lang="en-US" altLang="en-US" sz="2400" b="1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3</a:t>
            </a:r>
            <a:r>
              <a:rPr kumimoji="0" lang="th-TH" altLang="en-US" sz="2400" b="1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 รูปแบบ</a:t>
            </a:r>
          </a:p>
        </p:txBody>
      </p:sp>
      <p:sp>
        <p:nvSpPr>
          <p:cNvPr id="85" name="TextBox 24"/>
          <p:cNvSpPr txBox="1">
            <a:spLocks noChangeArrowheads="1"/>
          </p:cNvSpPr>
          <p:nvPr/>
        </p:nvSpPr>
        <p:spPr bwMode="auto">
          <a:xfrm>
            <a:off x="5998853" y="4935936"/>
            <a:ext cx="2316479" cy="1322471"/>
          </a:xfrm>
          <a:prstGeom prst="rect">
            <a:avLst/>
          </a:prstGeom>
          <a:solidFill>
            <a:srgbClr val="ED7D31">
              <a:lumMod val="20000"/>
              <a:lumOff val="80000"/>
            </a:srgbClr>
          </a:solidFill>
          <a:ln>
            <a:noFill/>
          </a:ln>
          <a:effectLst/>
          <a:extLst/>
        </p:spPr>
        <p:txBody>
          <a:bodyPr wrap="square" anchor="ctr">
            <a:no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altLang="en-US" sz="2400" b="1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การใช้งานทำได้ </a:t>
            </a:r>
            <a:r>
              <a:rPr kumimoji="0" lang="en-US" altLang="en-US" sz="2400" b="1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2 </a:t>
            </a:r>
            <a:r>
              <a:rPr kumimoji="0" lang="th-TH" altLang="en-US" sz="2400" b="1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ส่วน</a:t>
            </a:r>
            <a:endParaRPr kumimoji="0" lang="th-TH" altLang="en-US" sz="24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dia New" panose="020B0304020202020204" pitchFamily="34" charset="-34"/>
              <a:cs typeface="Cordia New" panose="020B0304020202020204" pitchFamily="34" charset="-34"/>
            </a:endParaRPr>
          </a:p>
        </p:txBody>
      </p:sp>
      <p:sp>
        <p:nvSpPr>
          <p:cNvPr id="86" name="TextBox 24"/>
          <p:cNvSpPr txBox="1">
            <a:spLocks noChangeArrowheads="1"/>
          </p:cNvSpPr>
          <p:nvPr/>
        </p:nvSpPr>
        <p:spPr bwMode="auto">
          <a:xfrm>
            <a:off x="6159833" y="2371049"/>
            <a:ext cx="1994519" cy="451340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anchor="ctr">
            <a:no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ภาคขนส่ง</a:t>
            </a:r>
            <a:endParaRPr kumimoji="0" lang="th-TH" altLang="en-US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dia New" panose="020B0304020202020204" pitchFamily="34" charset="-34"/>
              <a:cs typeface="Cordia New" panose="020B0304020202020204" pitchFamily="34" charset="-34"/>
            </a:endParaRPr>
          </a:p>
        </p:txBody>
      </p:sp>
      <p:sp>
        <p:nvSpPr>
          <p:cNvPr id="87" name="TextBox 24"/>
          <p:cNvSpPr txBox="1">
            <a:spLocks noChangeArrowheads="1"/>
          </p:cNvSpPr>
          <p:nvPr/>
        </p:nvSpPr>
        <p:spPr bwMode="auto">
          <a:xfrm>
            <a:off x="6216561" y="3492952"/>
            <a:ext cx="1994519" cy="451340"/>
          </a:xfrm>
          <a:prstGeom prst="rect">
            <a:avLst/>
          </a:prstGeom>
          <a:solidFill>
            <a:srgbClr val="44546A">
              <a:lumMod val="60000"/>
              <a:lumOff val="4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anchor="ctr">
            <a:no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นอกภาคขนส่</a:t>
            </a:r>
            <a:r>
              <a:rPr kumimoji="0" lang="th-TH" altLang="en-US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dia New" panose="020B0304020202020204" pitchFamily="34" charset="-34"/>
                <a:cs typeface="Cordia New" panose="020B0304020202020204" pitchFamily="34" charset="-34"/>
              </a:rPr>
              <a:t>ง</a:t>
            </a:r>
            <a:endParaRPr kumimoji="0" lang="th-TH" altLang="en-US" sz="28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dia New" panose="020B0304020202020204" pitchFamily="34" charset="-34"/>
              <a:cs typeface="Cordia New" panose="020B0304020202020204" pitchFamily="34" charset="-34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5998853" y="2276872"/>
            <a:ext cx="2316480" cy="2519682"/>
          </a:xfrm>
          <a:prstGeom prst="rect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h-TH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ordia New" panose="020B0304020202020204" pitchFamily="34" charset="-34"/>
            </a:endParaRPr>
          </a:p>
        </p:txBody>
      </p:sp>
      <p:pic>
        <p:nvPicPr>
          <p:cNvPr id="90" name="Picture 89" descr="http://www.rent4room.com/img/logo/MRT_logo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74" b="21491"/>
          <a:stretch/>
        </p:blipFill>
        <p:spPr bwMode="auto">
          <a:xfrm>
            <a:off x="6648489" y="2988363"/>
            <a:ext cx="547113" cy="311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2" descr="http://a0.twimg.com/profile_images/853154558/Official_Logo_bt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773" y="2879109"/>
            <a:ext cx="403710" cy="493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8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19" t="10578" r="19394"/>
          <a:stretch/>
        </p:blipFill>
        <p:spPr bwMode="auto">
          <a:xfrm>
            <a:off x="7709980" y="2925518"/>
            <a:ext cx="413892" cy="416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" name="Picture 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7848" y="4077624"/>
            <a:ext cx="463895" cy="410850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4" name="Picture 14" descr="http://profile.ak.fbcdn.net/hprofile-ak-snc4/373603_126495977378097_1287068836_n.jp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6106" y="4082299"/>
            <a:ext cx="443601" cy="401501"/>
          </a:xfrm>
          <a:prstGeom prst="rect">
            <a:avLst/>
          </a:prstGeom>
          <a:solidFill>
            <a:srgbClr val="FFFFFF">
              <a:lumMod val="95000"/>
            </a:srgbClr>
          </a:solidFill>
          <a:extLst/>
        </p:spPr>
      </p:pic>
      <p:pic>
        <p:nvPicPr>
          <p:cNvPr id="95" name="Picture 49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4568" y="4106733"/>
            <a:ext cx="436716" cy="352633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6" name="Picture 7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6604" y="4081093"/>
            <a:ext cx="474641" cy="403912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7" name="Rectangle 96"/>
          <p:cNvSpPr/>
          <p:nvPr/>
        </p:nvSpPr>
        <p:spPr>
          <a:xfrm>
            <a:off x="3862206" y="3569853"/>
            <a:ext cx="12538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1800" i="1" dirty="0">
                <a:solidFill>
                  <a:prstClr val="black"/>
                </a:solidFill>
                <a:latin typeface="Cordia New" panose="020B0304020202020204" pitchFamily="34" charset="-34"/>
                <a:cs typeface="Cordia New" panose="020B0304020202020204" pitchFamily="34" charset="-34"/>
              </a:rPr>
              <a:t>ผู้ออกบัตรรายอื่น</a:t>
            </a:r>
            <a:endParaRPr lang="en-US" sz="1800" i="1" dirty="0">
              <a:solidFill>
                <a:prstClr val="black"/>
              </a:solidFill>
              <a:latin typeface="Cordia New" panose="020B0304020202020204" pitchFamily="34" charset="-34"/>
              <a:cs typeface="Cordia New" panose="020B0304020202020204" pitchFamily="34" charset="-34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3879037" y="4421191"/>
            <a:ext cx="12202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1800" i="1" dirty="0" smtClean="0">
                <a:solidFill>
                  <a:prstClr val="black"/>
                </a:solidFill>
                <a:latin typeface="Cordia New" panose="020B0304020202020204" pitchFamily="34" charset="-34"/>
                <a:cs typeface="Cordia New" panose="020B0304020202020204" pitchFamily="34" charset="-34"/>
              </a:rPr>
              <a:t>การร่วมออกบัตร</a:t>
            </a:r>
            <a:endParaRPr lang="en-US" sz="1800" i="1" dirty="0">
              <a:solidFill>
                <a:prstClr val="black"/>
              </a:solidFill>
              <a:latin typeface="Cordia New" panose="020B0304020202020204" pitchFamily="34" charset="-34"/>
              <a:cs typeface="Cordia New" panose="020B0304020202020204" pitchFamily="34" charset="-34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3609732" y="2822389"/>
            <a:ext cx="1758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1800" i="1" dirty="0" smtClean="0">
                <a:solidFill>
                  <a:prstClr val="black"/>
                </a:solidFill>
                <a:latin typeface="Cordia New" panose="020B0304020202020204" pitchFamily="34" charset="-34"/>
                <a:cs typeface="Cordia New" panose="020B0304020202020204" pitchFamily="34" charset="-34"/>
              </a:rPr>
              <a:t>บริษัทบริหารจัดการระบบ</a:t>
            </a:r>
            <a:endParaRPr lang="en-US" sz="1800" i="1" dirty="0">
              <a:solidFill>
                <a:prstClr val="black"/>
              </a:solidFill>
              <a:latin typeface="Cordia New" panose="020B0304020202020204" pitchFamily="34" charset="-34"/>
              <a:cs typeface="Cordia New" panose="020B0304020202020204" pitchFamily="34" charset="-34"/>
            </a:endParaRPr>
          </a:p>
        </p:txBody>
      </p:sp>
      <p:pic>
        <p:nvPicPr>
          <p:cNvPr id="100" name="Picture 2" descr="D:\OTP.jp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903" y="2939229"/>
            <a:ext cx="2170857" cy="1188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80" r="22448"/>
          <a:stretch/>
        </p:blipFill>
        <p:spPr>
          <a:xfrm>
            <a:off x="7210247" y="2907458"/>
            <a:ext cx="426954" cy="530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53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7216321" cy="715962"/>
          </a:xfrm>
        </p:spPr>
        <p:txBody>
          <a:bodyPr/>
          <a:lstStyle/>
          <a:p>
            <a:r>
              <a:rPr lang="th-TH" sz="3600" dirty="0" smtClean="0">
                <a:latin typeface="TH Sarabun PSK"/>
                <a:cs typeface="TH SarabunPSK" panose="020B0500040200020003" pitchFamily="34" charset="-34"/>
              </a:rPr>
              <a:t>กระบวนการในการออกแบบระบบบัตรโดยสาร</a:t>
            </a:r>
            <a:endParaRPr lang="en-US" sz="3600" dirty="0">
              <a:latin typeface="TH Sarabun PSK"/>
              <a:cs typeface="TH SarabunPSK" panose="020B0500040200020003" pitchFamily="34" charset="-34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267158" y="1830309"/>
            <a:ext cx="2816352" cy="4396319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th-TH" sz="20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บัตรโดยสารที่รองรับการเดินทางในระบบขนส่งสาธารณะทุกรูปแบบสำหรับกรุงเทพมหานครและปริมณฑล</a:t>
            </a:r>
          </a:p>
          <a:p>
            <a:pPr marL="234950" indent="-23495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th-TH" sz="20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สามารถขยายไปสู่การเดินทางในระบบขนส่งระดับประเทศได้</a:t>
            </a:r>
          </a:p>
          <a:p>
            <a:pPr marL="234950" indent="-23495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th-TH" sz="20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รองรับการบริหารจัดการค่าโดยสารร่วมทั้งแบบตามระยะทางและรูปแบบอื่นๆ</a:t>
            </a:r>
          </a:p>
          <a:p>
            <a:pPr marL="234950" indent="-23495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th-TH" sz="20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รองรับนโยบายของภาครัฐในการสนับสนุนค่าโดยสารสำหรับระบบขนส่งสาธารณะ</a:t>
            </a:r>
          </a:p>
          <a:p>
            <a:pPr marL="234950" indent="-23495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th-TH" sz="20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สามารถทำงานร่วมกับระบบที่มีอยู่เดิมได้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3512454" y="1830309"/>
            <a:ext cx="2582416" cy="4396319"/>
          </a:xfrm>
          <a:prstGeom prst="rect">
            <a:avLst/>
          </a:prstGeom>
          <a:solidFill>
            <a:srgbClr val="CCFFCC"/>
          </a:solidFill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57200" indent="-4572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หน้าที่และความรับผิดชอบของแต่ละส่วน</a:t>
            </a:r>
            <a:endParaRPr lang="en-US" sz="2000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692150" lvl="1" indent="-23495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Regulator</a:t>
            </a:r>
          </a:p>
          <a:p>
            <a:pPr marL="692150" lvl="1" indent="-23495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Issuer </a:t>
            </a:r>
          </a:p>
          <a:p>
            <a:pPr marL="692150" lvl="1" indent="-23495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Loading Agent</a:t>
            </a:r>
          </a:p>
          <a:p>
            <a:pPr marL="692150" lvl="1" indent="-23495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Service Provider</a:t>
            </a: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Business Rule</a:t>
            </a:r>
          </a:p>
          <a:p>
            <a:pPr marL="692150" lvl="1" indent="-23495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คิดค่าโดยสาร</a:t>
            </a:r>
          </a:p>
          <a:p>
            <a:pPr marL="692150" lvl="1" indent="-23495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่วนลดในการเดินทาง</a:t>
            </a:r>
          </a:p>
          <a:p>
            <a:pPr marL="692150" lvl="1" indent="-23495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เชื่อมต่อระบบ</a:t>
            </a:r>
            <a:endParaRPr lang="en-US" sz="2000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roduct </a:t>
            </a:r>
            <a:endParaRPr lang="th-TH" sz="2000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ระสิทธิภาพและเวลาในการประมวลผล</a:t>
            </a: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บบความปลอดภัย</a:t>
            </a:r>
            <a:endParaRPr lang="en-US" sz="2000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436327" y="1830309"/>
            <a:ext cx="2359152" cy="4396319"/>
          </a:xfrm>
          <a:prstGeom prst="rect">
            <a:avLst/>
          </a:prstGeom>
          <a:solidFill>
            <a:srgbClr val="CCECFF"/>
          </a:solidFill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3050" lvl="1" indent="-27305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ระบวนการออกบัตร</a:t>
            </a:r>
          </a:p>
          <a:p>
            <a:pPr marL="273050" lvl="1" indent="-27305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ระบวนการเติมบัตร</a:t>
            </a:r>
          </a:p>
          <a:p>
            <a:pPr marL="273050" lvl="1" indent="-27305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ระบวนการเก็บเงินที่สถานีและจุดจอดรถ</a:t>
            </a:r>
          </a:p>
          <a:p>
            <a:pPr marL="273050" lvl="1" indent="-27305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ระบวนการแบ่งค่าโดยสาร</a:t>
            </a:r>
          </a:p>
          <a:p>
            <a:pPr marL="273050" lvl="1" indent="-27305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บริหารจัดการบัตร </a:t>
            </a:r>
          </a:p>
          <a:p>
            <a:pPr marL="730250" lvl="2" indent="-27305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ออกบัตรใหม่</a:t>
            </a:r>
          </a:p>
          <a:p>
            <a:pPr marL="730250" lvl="2" indent="-27305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แก้ปัญหาบัตร</a:t>
            </a:r>
          </a:p>
          <a:p>
            <a:pPr marL="730250" lvl="2" indent="-27305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th-TH" sz="2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ตรวจสอบข้อมูล</a:t>
            </a:r>
            <a:endParaRPr lang="en-US" sz="2000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685800" lvl="1" indent="-228600" fontAlgn="base">
              <a:spcBef>
                <a:spcPct val="0"/>
              </a:spcBef>
              <a:spcAft>
                <a:spcPct val="0"/>
              </a:spcAft>
            </a:pPr>
            <a:endParaRPr lang="en-US" sz="2000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7200" y="980728"/>
            <a:ext cx="2359152" cy="72008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th-TH" sz="24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โยบาย</a:t>
            </a:r>
            <a:endParaRPr lang="en-US" sz="2400" b="0" dirty="0" smtClean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635896" y="1196752"/>
            <a:ext cx="2362200" cy="3048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24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Business Requirement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389312" y="1196752"/>
            <a:ext cx="2359152" cy="3048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24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Operation Requirements</a:t>
            </a:r>
          </a:p>
        </p:txBody>
      </p:sp>
      <p:sp>
        <p:nvSpPr>
          <p:cNvPr id="14" name="Right Arrow 13"/>
          <p:cNvSpPr/>
          <p:nvPr/>
        </p:nvSpPr>
        <p:spPr bwMode="auto">
          <a:xfrm>
            <a:off x="3019951" y="3414486"/>
            <a:ext cx="543937" cy="418728"/>
          </a:xfrm>
          <a:prstGeom prst="rightArrow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en-US" sz="2000" b="0" dirty="0" smtClean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5" name="Right Arrow 14"/>
          <p:cNvSpPr/>
          <p:nvPr/>
        </p:nvSpPr>
        <p:spPr bwMode="auto">
          <a:xfrm>
            <a:off x="5940152" y="3414486"/>
            <a:ext cx="543937" cy="418728"/>
          </a:xfrm>
          <a:prstGeom prst="rightArrow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en-US" sz="2000" b="0" dirty="0" smtClean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885314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z="36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ประเภทของบัตรโดยสาร </a:t>
            </a:r>
            <a:endParaRPr lang="en-US" sz="36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/>
              <a:pPr>
                <a:defRPr/>
              </a:pPr>
              <a:t>17</a:t>
            </a:fld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Diagram 5"/>
          <p:cNvGraphicFramePr/>
          <p:nvPr>
            <p:extLst/>
          </p:nvPr>
        </p:nvGraphicFramePr>
        <p:xfrm>
          <a:off x="349903" y="1052736"/>
          <a:ext cx="8418961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90338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z="36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ประเภทของตั๋วร่วมและสิทธิ์ประโยชน์</a:t>
            </a:r>
            <a:endParaRPr lang="th-TH" sz="36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355190" y="6456072"/>
            <a:ext cx="465282" cy="3397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94437B2-E4A0-408A-A685-4D4BA5E18955}" type="slidenum">
              <a:rPr lang="en-US" sz="1200" smtClean="0">
                <a:solidFill>
                  <a:prstClr val="black"/>
                </a:solidFill>
                <a:latin typeface="Cordia New" panose="020B0304020202020204" pitchFamily="34" charset="-34"/>
                <a:cs typeface="Cordia New" panose="020B0304020202020204" pitchFamily="34" charset="-34"/>
              </a:rPr>
              <a:pPr>
                <a:defRPr/>
              </a:pPr>
              <a:t>18</a:t>
            </a:fld>
            <a:endParaRPr lang="th-TH" sz="1200" dirty="0">
              <a:solidFill>
                <a:prstClr val="black"/>
              </a:solidFill>
              <a:latin typeface="Cordia New" panose="020B0304020202020204" pitchFamily="34" charset="-34"/>
              <a:cs typeface="Cordia New" panose="020B0304020202020204" pitchFamily="34" charset="-3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3641435" y="6464395"/>
            <a:ext cx="4187542" cy="353521"/>
          </a:xfrm>
          <a:prstGeom prst="rect">
            <a:avLst/>
          </a:prstGeom>
        </p:spPr>
        <p:txBody>
          <a:bodyPr/>
          <a:lstStyle/>
          <a:p>
            <a:endParaRPr lang="th-TH" dirty="0"/>
          </a:p>
        </p:txBody>
      </p:sp>
      <p:sp>
        <p:nvSpPr>
          <p:cNvPr id="5" name="Rectangle 4"/>
          <p:cNvSpPr/>
          <p:nvPr/>
        </p:nvSpPr>
        <p:spPr bwMode="auto">
          <a:xfrm>
            <a:off x="583224" y="1001994"/>
            <a:ext cx="7910146" cy="324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tIns="144000" bIns="72000" rtlCol="0" anchor="ctr"/>
          <a:lstStyle/>
          <a:p>
            <a:pPr>
              <a:lnSpc>
                <a:spcPts val="1700"/>
              </a:lnSpc>
            </a:pPr>
            <a:r>
              <a:rPr lang="th-TH" sz="2000" b="1" dirty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ตารางเปรียบเทียบ</a:t>
            </a:r>
            <a:r>
              <a:rPr lang="th-TH" sz="2000" b="1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ลักษณะตั๋วร่วมแต่ละประเภท</a:t>
            </a:r>
            <a:endParaRPr lang="th-TH" sz="2000" b="1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83224" y="1001993"/>
            <a:ext cx="7910146" cy="5306731"/>
          </a:xfrm>
          <a:prstGeom prst="rect">
            <a:avLst/>
          </a:prstGeom>
          <a:noFill/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endParaRPr lang="th-TH" sz="1600" dirty="0" err="1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3137098" y="1904906"/>
            <a:ext cx="851895" cy="39723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40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2203185" y="1904906"/>
            <a:ext cx="851895" cy="39723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40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176981" y="1450844"/>
            <a:ext cx="904302" cy="42170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ิทธ์ประโยชน์ภาครัฐ</a:t>
            </a:r>
            <a:endParaRPr lang="th-TH" sz="140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3110894" y="1450844"/>
            <a:ext cx="904302" cy="42170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โอนกรรมสิทธ์ของบัตร</a:t>
            </a:r>
            <a:endParaRPr lang="th-TH" sz="140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pic>
        <p:nvPicPr>
          <p:cNvPr id="1028" name="Picture 4" descr="http://openclipart.org/image/800px/svg_to_png/167549/Kliponious-green-tic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397" y="2452207"/>
            <a:ext cx="242331" cy="29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clker.com/cliparts/1/1/9/2/12065738771352376078Arnoud999_Right_or_wrong_5.svg.m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9628" y="3785646"/>
            <a:ext cx="245237" cy="263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 descr="http://www.clker.com/cliparts/1/1/9/2/12065738771352376078Arnoud999_Right_or_wrong_5.svg.m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9628" y="5184886"/>
            <a:ext cx="245237" cy="263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http://openclipart.org/image/800px/svg_to_png/167549/Kliponious-green-tic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700" y="3712064"/>
            <a:ext cx="242331" cy="29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6" descr="http://www.clker.com/cliparts/1/1/9/2/12065738771352376078Arnoud999_Right_or_wrong_5.svg.m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2403" y="2448582"/>
            <a:ext cx="245237" cy="263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 descr="http://openclipart.org/image/800px/svg_to_png/167549/Kliponious-green-tic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700" y="5187650"/>
            <a:ext cx="242331" cy="29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33"/>
          <p:cNvSpPr/>
          <p:nvPr/>
        </p:nvSpPr>
        <p:spPr bwMode="auto">
          <a:xfrm>
            <a:off x="4055300" y="1904906"/>
            <a:ext cx="851895" cy="39723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40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4029096" y="1450844"/>
            <a:ext cx="904302" cy="42170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รณีบัตรสูญหายหรือชำรุด</a:t>
            </a:r>
            <a:endParaRPr lang="th-TH" sz="140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060239" y="2306826"/>
            <a:ext cx="850263" cy="624548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algn="ctr"/>
            <a:r>
              <a:rPr lang="th-TH" sz="14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ามารถรับบัตรใหม่โดยมีมูลค่าเท่าเดิม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060239" y="3614317"/>
            <a:ext cx="850263" cy="624548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algn="ctr"/>
            <a:r>
              <a:rPr lang="th-TH" sz="14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ามารถรับบัตรใหม่โดยมีมูลค่าเท่าเดิม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134023" y="5085784"/>
            <a:ext cx="702697" cy="624548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algn="ctr"/>
            <a:r>
              <a:rPr lang="th-TH" sz="14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ไม่สามารถรับบัตรใหม่ได้</a:t>
            </a:r>
          </a:p>
        </p:txBody>
      </p:sp>
      <p:sp>
        <p:nvSpPr>
          <p:cNvPr id="46" name="Rectangle 45"/>
          <p:cNvSpPr/>
          <p:nvPr/>
        </p:nvSpPr>
        <p:spPr bwMode="auto">
          <a:xfrm>
            <a:off x="4971300" y="1904906"/>
            <a:ext cx="851895" cy="39723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40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4945095" y="1450844"/>
            <a:ext cx="904302" cy="42170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ูลค่าเงินสูงสุด</a:t>
            </a:r>
            <a:endParaRPr lang="th-TH" sz="140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976238" y="2306826"/>
            <a:ext cx="850263" cy="62454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[10,000 </a:t>
            </a:r>
            <a:r>
              <a:rPr lang="th-TH" sz="14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าท</a:t>
            </a:r>
            <a:r>
              <a:rPr lang="en-US" sz="14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]</a:t>
            </a:r>
            <a:endParaRPr lang="th-TH" sz="1400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976238" y="3614318"/>
            <a:ext cx="850263" cy="62454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[10,000 </a:t>
            </a:r>
            <a:r>
              <a:rPr lang="th-TH" sz="14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าท</a:t>
            </a:r>
            <a:r>
              <a:rPr lang="en-US" sz="14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]</a:t>
            </a:r>
            <a:endParaRPr lang="th-TH" sz="1400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976238" y="5024507"/>
            <a:ext cx="850263" cy="62454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[10,000 </a:t>
            </a:r>
            <a:r>
              <a:rPr lang="th-TH" sz="14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าท</a:t>
            </a:r>
            <a:r>
              <a:rPr lang="en-US" sz="14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]</a:t>
            </a:r>
            <a:endParaRPr lang="th-TH" sz="1400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17" name="Straight Connector 16"/>
          <p:cNvCxnSpPr/>
          <p:nvPr/>
        </p:nvCxnSpPr>
        <p:spPr bwMode="auto">
          <a:xfrm>
            <a:off x="2029010" y="3212976"/>
            <a:ext cx="646465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9" name="Rounded Rectangle 8"/>
          <p:cNvSpPr/>
          <p:nvPr/>
        </p:nvSpPr>
        <p:spPr bwMode="auto">
          <a:xfrm>
            <a:off x="758647" y="4918846"/>
            <a:ext cx="1238301" cy="958427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700"/>
              </a:lnSpc>
            </a:pPr>
            <a:r>
              <a:rPr lang="en-US" sz="17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Anonymous Card</a:t>
            </a:r>
            <a:endParaRPr lang="th-TH" sz="170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758647" y="2099538"/>
            <a:ext cx="1238301" cy="958427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rtlCol="0" anchor="t"/>
          <a:lstStyle/>
          <a:p>
            <a:pPr algn="ctr">
              <a:lnSpc>
                <a:spcPts val="1700"/>
              </a:lnSpc>
            </a:pPr>
            <a:r>
              <a:rPr lang="en-US" sz="17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ersonalized Card</a:t>
            </a:r>
            <a:endParaRPr lang="th-TH" sz="1700" dirty="0" err="1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861621" y="2415173"/>
            <a:ext cx="350689" cy="5267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0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hoto</a:t>
            </a:r>
            <a:endParaRPr lang="th-TH" sz="1000" dirty="0" err="1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235836" y="2434384"/>
            <a:ext cx="761112" cy="516156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>
              <a:lnSpc>
                <a:spcPct val="85000"/>
              </a:lnSpc>
            </a:pPr>
            <a:r>
              <a:rPr lang="th-TH" sz="105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ชื่อ</a:t>
            </a:r>
            <a:r>
              <a:rPr lang="en-US" sz="105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: ___/ ID NO.__</a:t>
            </a:r>
          </a:p>
          <a:p>
            <a:pPr>
              <a:lnSpc>
                <a:spcPct val="85000"/>
              </a:lnSpc>
            </a:pPr>
            <a:r>
              <a:rPr lang="th-TH" sz="105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ที่อยู่</a:t>
            </a:r>
            <a:r>
              <a:rPr lang="en-US" sz="105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:____</a:t>
            </a:r>
          </a:p>
          <a:p>
            <a:pPr>
              <a:lnSpc>
                <a:spcPct val="85000"/>
              </a:lnSpc>
            </a:pPr>
            <a:r>
              <a:rPr lang="th-TH" sz="105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ันเดือนปีเกิด</a:t>
            </a:r>
            <a:r>
              <a:rPr lang="en-US" sz="105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:___</a:t>
            </a:r>
          </a:p>
          <a:p>
            <a:pPr>
              <a:lnSpc>
                <a:spcPct val="85000"/>
              </a:lnSpc>
            </a:pPr>
            <a:endParaRPr lang="th-TH" sz="1050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758647" y="3447379"/>
            <a:ext cx="1238301" cy="958427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700"/>
              </a:lnSpc>
            </a:pPr>
            <a:r>
              <a:rPr lang="en-US" sz="17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Registered Card</a:t>
            </a:r>
            <a:endParaRPr lang="th-TH" sz="1700" dirty="0" err="1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235836" y="3752250"/>
            <a:ext cx="761112" cy="516156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>
              <a:lnSpc>
                <a:spcPct val="85000"/>
              </a:lnSpc>
            </a:pPr>
            <a:r>
              <a:rPr lang="th-TH" sz="105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ชื่อ</a:t>
            </a:r>
            <a:r>
              <a:rPr lang="en-US" sz="105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: ___/ ID NO.__</a:t>
            </a:r>
          </a:p>
          <a:p>
            <a:pPr>
              <a:lnSpc>
                <a:spcPct val="85000"/>
              </a:lnSpc>
            </a:pPr>
            <a:r>
              <a:rPr lang="th-TH" sz="105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ที่อยู่</a:t>
            </a:r>
            <a:r>
              <a:rPr lang="en-US" sz="105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:____</a:t>
            </a:r>
          </a:p>
          <a:p>
            <a:pPr>
              <a:lnSpc>
                <a:spcPct val="85000"/>
              </a:lnSpc>
            </a:pPr>
            <a:r>
              <a:rPr lang="th-TH" sz="105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ันเดือนปีเกิด</a:t>
            </a:r>
            <a:r>
              <a:rPr lang="en-US" sz="105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:___</a:t>
            </a:r>
          </a:p>
          <a:p>
            <a:pPr>
              <a:lnSpc>
                <a:spcPct val="85000"/>
              </a:lnSpc>
            </a:pPr>
            <a:endParaRPr lang="th-TH" sz="1050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8" name="Rectangle 67"/>
          <p:cNvSpPr/>
          <p:nvPr/>
        </p:nvSpPr>
        <p:spPr bwMode="auto">
          <a:xfrm>
            <a:off x="6051901" y="2200113"/>
            <a:ext cx="1582780" cy="306932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2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ตรอุดหนุนภาครัฐ</a:t>
            </a:r>
            <a:endParaRPr lang="th-TH" sz="120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5967847" y="1450844"/>
            <a:ext cx="1762719" cy="42170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ตัวอย่างบัตร</a:t>
            </a:r>
            <a:endParaRPr lang="th-TH" sz="140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71" name="Straight Connector 70"/>
          <p:cNvCxnSpPr/>
          <p:nvPr/>
        </p:nvCxnSpPr>
        <p:spPr bwMode="auto">
          <a:xfrm>
            <a:off x="2029010" y="4725144"/>
            <a:ext cx="6464657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72" name="Rectangle 71"/>
          <p:cNvSpPr/>
          <p:nvPr/>
        </p:nvSpPr>
        <p:spPr bwMode="auto">
          <a:xfrm>
            <a:off x="6051901" y="2627537"/>
            <a:ext cx="1582780" cy="306932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2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ตรประจำตัวพนักงาน</a:t>
            </a:r>
            <a:endParaRPr lang="th-TH" sz="120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3" name="Rectangle 72"/>
          <p:cNvSpPr/>
          <p:nvPr/>
        </p:nvSpPr>
        <p:spPr bwMode="auto">
          <a:xfrm>
            <a:off x="6051901" y="3544741"/>
            <a:ext cx="1582780" cy="306932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2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ตรโดยสารสะสมแต้ม</a:t>
            </a:r>
            <a:endParaRPr lang="th-TH" sz="120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4" name="Rectangle 73"/>
          <p:cNvSpPr/>
          <p:nvPr/>
        </p:nvSpPr>
        <p:spPr bwMode="auto">
          <a:xfrm>
            <a:off x="6051901" y="3923681"/>
            <a:ext cx="1582780" cy="306932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2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ตรโดยสารแบบ </a:t>
            </a:r>
            <a:r>
              <a:rPr lang="en-US" sz="12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Fixed-Journey</a:t>
            </a:r>
            <a:endParaRPr lang="th-TH" sz="120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5" name="Rectangle 74"/>
          <p:cNvSpPr/>
          <p:nvPr/>
        </p:nvSpPr>
        <p:spPr bwMode="auto">
          <a:xfrm>
            <a:off x="6051901" y="5172811"/>
            <a:ext cx="1582780" cy="306932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2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ตรโดยสารทั่วไป</a:t>
            </a:r>
            <a:endParaRPr lang="th-TH" sz="120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027" name="Rectangle 1026"/>
          <p:cNvSpPr/>
          <p:nvPr/>
        </p:nvSpPr>
        <p:spPr bwMode="auto">
          <a:xfrm>
            <a:off x="5967848" y="1450845"/>
            <a:ext cx="1762718" cy="4656027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endParaRPr lang="th-TH" sz="1600" dirty="0" err="1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7" name="Rectangle 76"/>
          <p:cNvSpPr/>
          <p:nvPr/>
        </p:nvSpPr>
        <p:spPr bwMode="auto">
          <a:xfrm>
            <a:off x="752780" y="1450844"/>
            <a:ext cx="1293402" cy="42170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ระเภทของบัตร</a:t>
            </a:r>
            <a:endParaRPr lang="th-TH" sz="140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758647" y="1450845"/>
            <a:ext cx="1287534" cy="4656027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endParaRPr lang="th-TH" sz="1600" dirty="0" err="1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9616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609600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36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Card File Structure</a:t>
            </a:r>
            <a:endParaRPr lang="en-US" sz="36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graphicFrame>
        <p:nvGraphicFramePr>
          <p:cNvPr id="136" name="Table 135"/>
          <p:cNvGraphicFramePr>
            <a:graphicFrameLocks noGrp="1"/>
          </p:cNvGraphicFramePr>
          <p:nvPr>
            <p:extLst/>
          </p:nvPr>
        </p:nvGraphicFramePr>
        <p:xfrm>
          <a:off x="238125" y="2029942"/>
          <a:ext cx="4267200" cy="1233948"/>
        </p:xfrm>
        <a:graphic>
          <a:graphicData uri="http://schemas.openxmlformats.org/drawingml/2006/table">
            <a:tbl>
              <a:tblPr firstRow="1" bandRow="1"/>
              <a:tblGrid>
                <a:gridCol w="609600"/>
                <a:gridCol w="3657600"/>
              </a:tblGrid>
              <a:tr h="533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TH SarabunPSK" panose="020B0500040200020003" pitchFamily="34" charset="-34"/>
                          <a:ea typeface="+mn-ea"/>
                          <a:cs typeface="TH SarabunPSK" panose="020B0500040200020003" pitchFamily="34" charset="-34"/>
                        </a:rPr>
                        <a:t>Level 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</a:tr>
              <a:tr h="7005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latin typeface="TH SarabunPSK" panose="020B0500040200020003" pitchFamily="34" charset="-34"/>
                          <a:cs typeface="TH SarabunPSK" panose="020B0500040200020003" pitchFamily="34" charset="-34"/>
                        </a:rPr>
                        <a:t>Level 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DDDD"/>
                    </a:solidFill>
                  </a:tcPr>
                </a:tc>
              </a:tr>
            </a:tbl>
          </a:graphicData>
        </a:graphic>
      </p:graphicFrame>
      <p:sp>
        <p:nvSpPr>
          <p:cNvPr id="137" name="TextBox 136"/>
          <p:cNvSpPr txBox="1"/>
          <p:nvPr/>
        </p:nvSpPr>
        <p:spPr>
          <a:xfrm>
            <a:off x="1631061" y="914400"/>
            <a:ext cx="17732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H SarabunPSK" panose="020B0500040200020003" pitchFamily="34" charset="-34"/>
                <a:cs typeface="TH SarabunPSK" panose="020B0500040200020003" pitchFamily="34" charset="-34"/>
              </a:rPr>
              <a:t>Option 1:  Hong </a:t>
            </a:r>
            <a:r>
              <a:rPr lang="en-US" sz="18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H SarabunPSK" panose="020B0500040200020003" pitchFamily="34" charset="-34"/>
                <a:cs typeface="TH SarabunPSK" panose="020B0500040200020003" pitchFamily="34" charset="-34"/>
              </a:rPr>
              <a:t>Kong</a:t>
            </a:r>
          </a:p>
        </p:txBody>
      </p:sp>
      <p:sp>
        <p:nvSpPr>
          <p:cNvPr id="138" name="Rectangle 137"/>
          <p:cNvSpPr/>
          <p:nvPr/>
        </p:nvSpPr>
        <p:spPr>
          <a:xfrm>
            <a:off x="2186814" y="1436224"/>
            <a:ext cx="828084" cy="172991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Main File</a:t>
            </a:r>
          </a:p>
        </p:txBody>
      </p:sp>
      <p:sp>
        <p:nvSpPr>
          <p:cNvPr id="139" name="Rectangle 138"/>
          <p:cNvSpPr/>
          <p:nvPr/>
        </p:nvSpPr>
        <p:spPr>
          <a:xfrm>
            <a:off x="1572219" y="1725142"/>
            <a:ext cx="688254" cy="15052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EF File</a:t>
            </a:r>
          </a:p>
        </p:txBody>
      </p:sp>
      <p:cxnSp>
        <p:nvCxnSpPr>
          <p:cNvPr id="140" name="Elbow Connector 139"/>
          <p:cNvCxnSpPr>
            <a:stCxn id="138" idx="2"/>
            <a:endCxn id="139" idx="3"/>
          </p:cNvCxnSpPr>
          <p:nvPr/>
        </p:nvCxnSpPr>
        <p:spPr>
          <a:xfrm rot="5400000">
            <a:off x="2335072" y="1534617"/>
            <a:ext cx="191187" cy="340383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41" name="Rectangle 140"/>
          <p:cNvSpPr/>
          <p:nvPr/>
        </p:nvSpPr>
        <p:spPr>
          <a:xfrm>
            <a:off x="892896" y="2106142"/>
            <a:ext cx="777240" cy="3048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Common Product</a:t>
            </a:r>
          </a:p>
        </p:txBody>
      </p:sp>
      <p:sp>
        <p:nvSpPr>
          <p:cNvPr id="142" name="Rectangle 141"/>
          <p:cNvSpPr/>
          <p:nvPr/>
        </p:nvSpPr>
        <p:spPr>
          <a:xfrm>
            <a:off x="1743075" y="2115079"/>
            <a:ext cx="777240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SP1</a:t>
            </a:r>
          </a:p>
        </p:txBody>
      </p:sp>
      <p:sp>
        <p:nvSpPr>
          <p:cNvPr id="143" name="Rectangle 142"/>
          <p:cNvSpPr/>
          <p:nvPr/>
        </p:nvSpPr>
        <p:spPr>
          <a:xfrm>
            <a:off x="2620973" y="2117539"/>
            <a:ext cx="777240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SP2</a:t>
            </a:r>
          </a:p>
        </p:txBody>
      </p:sp>
      <p:sp>
        <p:nvSpPr>
          <p:cNvPr id="144" name="Rectangle 143"/>
          <p:cNvSpPr/>
          <p:nvPr/>
        </p:nvSpPr>
        <p:spPr>
          <a:xfrm>
            <a:off x="3514725" y="2117540"/>
            <a:ext cx="777240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SP3</a:t>
            </a:r>
          </a:p>
        </p:txBody>
      </p:sp>
      <p:cxnSp>
        <p:nvCxnSpPr>
          <p:cNvPr id="145" name="Elbow Connector 144"/>
          <p:cNvCxnSpPr>
            <a:stCxn id="138" idx="2"/>
            <a:endCxn id="141" idx="0"/>
          </p:cNvCxnSpPr>
          <p:nvPr/>
        </p:nvCxnSpPr>
        <p:spPr>
          <a:xfrm rot="5400000">
            <a:off x="1692723" y="1198008"/>
            <a:ext cx="496927" cy="1319340"/>
          </a:xfrm>
          <a:prstGeom prst="bentConnector3">
            <a:avLst>
              <a:gd name="adj1" fmla="val 67762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46" name="Elbow Connector 145"/>
          <p:cNvCxnSpPr>
            <a:stCxn id="138" idx="2"/>
            <a:endCxn id="142" idx="0"/>
          </p:cNvCxnSpPr>
          <p:nvPr/>
        </p:nvCxnSpPr>
        <p:spPr>
          <a:xfrm rot="5400000">
            <a:off x="2113344" y="1627567"/>
            <a:ext cx="505864" cy="469161"/>
          </a:xfrm>
          <a:prstGeom prst="bentConnector3">
            <a:avLst>
              <a:gd name="adj1" fmla="val 66193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47" name="Elbow Connector 146"/>
          <p:cNvCxnSpPr>
            <a:stCxn id="138" idx="2"/>
            <a:endCxn id="143" idx="0"/>
          </p:cNvCxnSpPr>
          <p:nvPr/>
        </p:nvCxnSpPr>
        <p:spPr>
          <a:xfrm rot="16200000" flipH="1">
            <a:off x="2551062" y="1659008"/>
            <a:ext cx="508324" cy="408737"/>
          </a:xfrm>
          <a:prstGeom prst="bentConnector3">
            <a:avLst>
              <a:gd name="adj1" fmla="val 66489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48" name="Elbow Connector 147"/>
          <p:cNvCxnSpPr>
            <a:stCxn id="138" idx="2"/>
            <a:endCxn id="144" idx="0"/>
          </p:cNvCxnSpPr>
          <p:nvPr/>
        </p:nvCxnSpPr>
        <p:spPr>
          <a:xfrm rot="16200000" flipH="1">
            <a:off x="2997938" y="1212132"/>
            <a:ext cx="508325" cy="1302489"/>
          </a:xfrm>
          <a:prstGeom prst="bentConnector3">
            <a:avLst>
              <a:gd name="adj1" fmla="val 66490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49" name="Rectangle 148"/>
          <p:cNvSpPr/>
          <p:nvPr/>
        </p:nvSpPr>
        <p:spPr>
          <a:xfrm>
            <a:off x="1944477" y="2673617"/>
            <a:ext cx="731520" cy="18927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roduct 1</a:t>
            </a:r>
          </a:p>
        </p:txBody>
      </p:sp>
      <p:sp>
        <p:nvSpPr>
          <p:cNvPr id="150" name="Rectangle 149"/>
          <p:cNvSpPr/>
          <p:nvPr/>
        </p:nvSpPr>
        <p:spPr>
          <a:xfrm>
            <a:off x="1946103" y="2971459"/>
            <a:ext cx="731520" cy="195887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roduct 2</a:t>
            </a:r>
          </a:p>
        </p:txBody>
      </p:sp>
      <p:cxnSp>
        <p:nvCxnSpPr>
          <p:cNvPr id="151" name="Elbow Connector 150"/>
          <p:cNvCxnSpPr>
            <a:endCxn id="149" idx="1"/>
          </p:cNvCxnSpPr>
          <p:nvPr/>
        </p:nvCxnSpPr>
        <p:spPr>
          <a:xfrm rot="16200000" flipH="1">
            <a:off x="1715472" y="2539248"/>
            <a:ext cx="341658" cy="116351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52" name="Elbow Connector 151"/>
          <p:cNvCxnSpPr>
            <a:endCxn id="150" idx="1"/>
          </p:cNvCxnSpPr>
          <p:nvPr/>
        </p:nvCxnSpPr>
        <p:spPr>
          <a:xfrm rot="16200000" flipH="1">
            <a:off x="1562059" y="2685358"/>
            <a:ext cx="650111" cy="117977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53" name="Rectangle 152"/>
          <p:cNvSpPr/>
          <p:nvPr/>
        </p:nvSpPr>
        <p:spPr>
          <a:xfrm>
            <a:off x="2817352" y="2677012"/>
            <a:ext cx="731520" cy="18927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roduct 3</a:t>
            </a:r>
          </a:p>
        </p:txBody>
      </p:sp>
      <p:sp>
        <p:nvSpPr>
          <p:cNvPr id="154" name="Rectangle 153"/>
          <p:cNvSpPr/>
          <p:nvPr/>
        </p:nvSpPr>
        <p:spPr>
          <a:xfrm>
            <a:off x="2817353" y="2958993"/>
            <a:ext cx="731520" cy="18927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roduct 4</a:t>
            </a:r>
          </a:p>
        </p:txBody>
      </p:sp>
      <p:cxnSp>
        <p:nvCxnSpPr>
          <p:cNvPr id="155" name="Elbow Connector 154"/>
          <p:cNvCxnSpPr>
            <a:endCxn id="153" idx="1"/>
          </p:cNvCxnSpPr>
          <p:nvPr/>
        </p:nvCxnSpPr>
        <p:spPr>
          <a:xfrm rot="16200000" flipH="1">
            <a:off x="2611688" y="2565983"/>
            <a:ext cx="342107" cy="69222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56" name="Elbow Connector 155"/>
          <p:cNvCxnSpPr>
            <a:endCxn id="154" idx="1"/>
          </p:cNvCxnSpPr>
          <p:nvPr/>
        </p:nvCxnSpPr>
        <p:spPr>
          <a:xfrm rot="16200000" flipH="1">
            <a:off x="2467753" y="2704028"/>
            <a:ext cx="629977" cy="69223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57" name="Rectangle 156"/>
          <p:cNvSpPr/>
          <p:nvPr/>
        </p:nvSpPr>
        <p:spPr>
          <a:xfrm>
            <a:off x="3717941" y="2677012"/>
            <a:ext cx="731520" cy="18927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roduct 5</a:t>
            </a:r>
          </a:p>
        </p:txBody>
      </p:sp>
      <p:sp>
        <p:nvSpPr>
          <p:cNvPr id="158" name="Rectangle 157"/>
          <p:cNvSpPr/>
          <p:nvPr/>
        </p:nvSpPr>
        <p:spPr>
          <a:xfrm>
            <a:off x="3717941" y="2978074"/>
            <a:ext cx="731520" cy="18927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roduct 6</a:t>
            </a:r>
          </a:p>
        </p:txBody>
      </p:sp>
      <p:cxnSp>
        <p:nvCxnSpPr>
          <p:cNvPr id="159" name="Elbow Connector 158"/>
          <p:cNvCxnSpPr>
            <a:endCxn id="157" idx="1"/>
          </p:cNvCxnSpPr>
          <p:nvPr/>
        </p:nvCxnSpPr>
        <p:spPr>
          <a:xfrm rot="16200000" flipH="1">
            <a:off x="3495045" y="2548752"/>
            <a:ext cx="347994" cy="97798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60" name="Elbow Connector 159"/>
          <p:cNvCxnSpPr>
            <a:endCxn id="158" idx="1"/>
          </p:cNvCxnSpPr>
          <p:nvPr/>
        </p:nvCxnSpPr>
        <p:spPr>
          <a:xfrm rot="16200000" flipH="1">
            <a:off x="3345985" y="2700753"/>
            <a:ext cx="646113" cy="97799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61" name="Rectangle 160"/>
          <p:cNvSpPr/>
          <p:nvPr/>
        </p:nvSpPr>
        <p:spPr>
          <a:xfrm>
            <a:off x="1079348" y="2659626"/>
            <a:ext cx="566928" cy="1873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urse</a:t>
            </a:r>
          </a:p>
        </p:txBody>
      </p:sp>
      <p:sp>
        <p:nvSpPr>
          <p:cNvPr id="162" name="Rectangle 161"/>
          <p:cNvSpPr/>
          <p:nvPr/>
        </p:nvSpPr>
        <p:spPr>
          <a:xfrm>
            <a:off x="1079348" y="2966823"/>
            <a:ext cx="566928" cy="195886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ass</a:t>
            </a:r>
          </a:p>
        </p:txBody>
      </p:sp>
      <p:cxnSp>
        <p:nvCxnSpPr>
          <p:cNvPr id="163" name="Elbow Connector 162"/>
          <p:cNvCxnSpPr>
            <a:endCxn id="161" idx="1"/>
          </p:cNvCxnSpPr>
          <p:nvPr/>
        </p:nvCxnSpPr>
        <p:spPr>
          <a:xfrm rot="16200000" flipH="1">
            <a:off x="862227" y="2536154"/>
            <a:ext cx="336445" cy="97798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64" name="Elbow Connector 163"/>
          <p:cNvCxnSpPr>
            <a:endCxn id="162" idx="1"/>
          </p:cNvCxnSpPr>
          <p:nvPr/>
        </p:nvCxnSpPr>
        <p:spPr>
          <a:xfrm rot="16200000" flipH="1">
            <a:off x="703537" y="2688955"/>
            <a:ext cx="653824" cy="97797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graphicFrame>
        <p:nvGraphicFramePr>
          <p:cNvPr id="360" name="Table 359"/>
          <p:cNvGraphicFramePr>
            <a:graphicFrameLocks noGrp="1"/>
          </p:cNvGraphicFramePr>
          <p:nvPr>
            <p:extLst/>
          </p:nvPr>
        </p:nvGraphicFramePr>
        <p:xfrm>
          <a:off x="4621149" y="2033508"/>
          <a:ext cx="4287536" cy="1233948"/>
        </p:xfrm>
        <a:graphic>
          <a:graphicData uri="http://schemas.openxmlformats.org/drawingml/2006/table">
            <a:tbl>
              <a:tblPr firstRow="1" bandRow="1"/>
              <a:tblGrid>
                <a:gridCol w="629936"/>
                <a:gridCol w="3657600"/>
              </a:tblGrid>
              <a:tr h="533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TH SarabunPSK" panose="020B0500040200020003" pitchFamily="34" charset="-34"/>
                          <a:ea typeface="+mn-ea"/>
                          <a:cs typeface="TH SarabunPSK" panose="020B0500040200020003" pitchFamily="34" charset="-34"/>
                        </a:rPr>
                        <a:t>Level 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</a:tr>
              <a:tr h="7005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latin typeface="TH SarabunPSK" panose="020B0500040200020003" pitchFamily="34" charset="-34"/>
                          <a:cs typeface="TH SarabunPSK" panose="020B0500040200020003" pitchFamily="34" charset="-34"/>
                        </a:rPr>
                        <a:t>Level 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DDDD"/>
                    </a:solidFill>
                  </a:tcPr>
                </a:tc>
              </a:tr>
            </a:tbl>
          </a:graphicData>
        </a:graphic>
      </p:graphicFrame>
      <p:sp>
        <p:nvSpPr>
          <p:cNvPr id="361" name="Rectangle 360"/>
          <p:cNvSpPr/>
          <p:nvPr/>
        </p:nvSpPr>
        <p:spPr>
          <a:xfrm>
            <a:off x="6590174" y="1439790"/>
            <a:ext cx="828084" cy="172991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Main File</a:t>
            </a:r>
          </a:p>
        </p:txBody>
      </p:sp>
      <p:sp>
        <p:nvSpPr>
          <p:cNvPr id="362" name="Rectangle 361"/>
          <p:cNvSpPr/>
          <p:nvPr/>
        </p:nvSpPr>
        <p:spPr>
          <a:xfrm>
            <a:off x="5975579" y="1728708"/>
            <a:ext cx="688254" cy="15052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EF File</a:t>
            </a:r>
          </a:p>
        </p:txBody>
      </p:sp>
      <p:cxnSp>
        <p:nvCxnSpPr>
          <p:cNvPr id="363" name="Elbow Connector 362"/>
          <p:cNvCxnSpPr>
            <a:stCxn id="361" idx="2"/>
            <a:endCxn id="362" idx="3"/>
          </p:cNvCxnSpPr>
          <p:nvPr/>
        </p:nvCxnSpPr>
        <p:spPr>
          <a:xfrm rot="5400000">
            <a:off x="6738432" y="1538183"/>
            <a:ext cx="191187" cy="340383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364" name="Rectangle 363"/>
          <p:cNvSpPr/>
          <p:nvPr/>
        </p:nvSpPr>
        <p:spPr>
          <a:xfrm>
            <a:off x="5296256" y="2123997"/>
            <a:ext cx="777240" cy="3048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Common 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urs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65" name="Rectangle 364"/>
          <p:cNvSpPr/>
          <p:nvPr/>
        </p:nvSpPr>
        <p:spPr>
          <a:xfrm>
            <a:off x="6154268" y="2123996"/>
            <a:ext cx="722784" cy="306163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Common PAS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66" name="Rectangle 365"/>
          <p:cNvSpPr/>
          <p:nvPr/>
        </p:nvSpPr>
        <p:spPr>
          <a:xfrm>
            <a:off x="7010400" y="2121105"/>
            <a:ext cx="519467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SJ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67" name="Rectangle 366"/>
          <p:cNvSpPr/>
          <p:nvPr/>
        </p:nvSpPr>
        <p:spPr>
          <a:xfrm>
            <a:off x="7628567" y="2121106"/>
            <a:ext cx="558166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Othe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368" name="Elbow Connector 367"/>
          <p:cNvCxnSpPr>
            <a:stCxn id="361" idx="2"/>
            <a:endCxn id="364" idx="0"/>
          </p:cNvCxnSpPr>
          <p:nvPr/>
        </p:nvCxnSpPr>
        <p:spPr>
          <a:xfrm rot="5400000">
            <a:off x="6088938" y="1208719"/>
            <a:ext cx="511216" cy="1319340"/>
          </a:xfrm>
          <a:prstGeom prst="bentConnector3">
            <a:avLst>
              <a:gd name="adj1" fmla="val 65838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369" name="Elbow Connector 368"/>
          <p:cNvCxnSpPr>
            <a:stCxn id="361" idx="2"/>
            <a:endCxn id="365" idx="0"/>
          </p:cNvCxnSpPr>
          <p:nvPr/>
        </p:nvCxnSpPr>
        <p:spPr>
          <a:xfrm rot="5400000">
            <a:off x="6504331" y="1624110"/>
            <a:ext cx="511215" cy="488556"/>
          </a:xfrm>
          <a:prstGeom prst="bentConnector3">
            <a:avLst>
              <a:gd name="adj1" fmla="val 65837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370" name="Elbow Connector 369"/>
          <p:cNvCxnSpPr>
            <a:stCxn id="361" idx="2"/>
            <a:endCxn id="366" idx="0"/>
          </p:cNvCxnSpPr>
          <p:nvPr/>
        </p:nvCxnSpPr>
        <p:spPr>
          <a:xfrm rot="16200000" flipH="1">
            <a:off x="6883013" y="1733984"/>
            <a:ext cx="508324" cy="265918"/>
          </a:xfrm>
          <a:prstGeom prst="bentConnector3">
            <a:avLst>
              <a:gd name="adj1" fmla="val 65927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371" name="Elbow Connector 370"/>
          <p:cNvCxnSpPr>
            <a:stCxn id="361" idx="2"/>
            <a:endCxn id="367" idx="0"/>
          </p:cNvCxnSpPr>
          <p:nvPr/>
        </p:nvCxnSpPr>
        <p:spPr>
          <a:xfrm rot="16200000" flipH="1">
            <a:off x="7201771" y="1415226"/>
            <a:ext cx="508325" cy="903434"/>
          </a:xfrm>
          <a:prstGeom prst="bentConnector3">
            <a:avLst>
              <a:gd name="adj1" fmla="val 65927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372" name="Rectangle 371"/>
          <p:cNvSpPr/>
          <p:nvPr/>
        </p:nvSpPr>
        <p:spPr>
          <a:xfrm>
            <a:off x="6390704" y="2677183"/>
            <a:ext cx="402336" cy="18927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SP1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73" name="Rectangle 372"/>
          <p:cNvSpPr/>
          <p:nvPr/>
        </p:nvSpPr>
        <p:spPr>
          <a:xfrm>
            <a:off x="6392330" y="2975025"/>
            <a:ext cx="402336" cy="195887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SP2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374" name="Elbow Connector 373"/>
          <p:cNvCxnSpPr>
            <a:endCxn id="372" idx="1"/>
          </p:cNvCxnSpPr>
          <p:nvPr/>
        </p:nvCxnSpPr>
        <p:spPr>
          <a:xfrm rot="16200000" flipH="1">
            <a:off x="6161699" y="2542814"/>
            <a:ext cx="341658" cy="116352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375" name="Elbow Connector 374"/>
          <p:cNvCxnSpPr>
            <a:endCxn id="373" idx="1"/>
          </p:cNvCxnSpPr>
          <p:nvPr/>
        </p:nvCxnSpPr>
        <p:spPr>
          <a:xfrm rot="16200000" flipH="1">
            <a:off x="6008285" y="2688924"/>
            <a:ext cx="650112" cy="117978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376" name="Rectangle 375"/>
          <p:cNvSpPr/>
          <p:nvPr/>
        </p:nvSpPr>
        <p:spPr>
          <a:xfrm>
            <a:off x="7203374" y="2680578"/>
            <a:ext cx="402336" cy="18927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Rail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77" name="Rectangle 376"/>
          <p:cNvSpPr/>
          <p:nvPr/>
        </p:nvSpPr>
        <p:spPr>
          <a:xfrm>
            <a:off x="7203375" y="2962559"/>
            <a:ext cx="402336" cy="18927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Bu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378" name="Elbow Connector 377"/>
          <p:cNvCxnSpPr>
            <a:endCxn id="376" idx="1"/>
          </p:cNvCxnSpPr>
          <p:nvPr/>
        </p:nvCxnSpPr>
        <p:spPr>
          <a:xfrm rot="16200000" flipH="1">
            <a:off x="6996236" y="2568076"/>
            <a:ext cx="345054" cy="69222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379" name="Elbow Connector 378"/>
          <p:cNvCxnSpPr>
            <a:endCxn id="377" idx="1"/>
          </p:cNvCxnSpPr>
          <p:nvPr/>
        </p:nvCxnSpPr>
        <p:spPr>
          <a:xfrm rot="16200000" flipH="1">
            <a:off x="6851594" y="2705414"/>
            <a:ext cx="634338" cy="69224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408" name="TextBox 407"/>
          <p:cNvSpPr txBox="1"/>
          <p:nvPr/>
        </p:nvSpPr>
        <p:spPr>
          <a:xfrm>
            <a:off x="6258816" y="914400"/>
            <a:ext cx="1345240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defRPr>
            </a:lvl1pPr>
          </a:lstStyle>
          <a:p>
            <a:r>
              <a:rPr lang="en-US" sz="18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Option 2: Korea</a:t>
            </a:r>
          </a:p>
        </p:txBody>
      </p:sp>
      <p:graphicFrame>
        <p:nvGraphicFramePr>
          <p:cNvPr id="499" name="Table 498"/>
          <p:cNvGraphicFramePr>
            <a:graphicFrameLocks noGrp="1"/>
          </p:cNvGraphicFramePr>
          <p:nvPr>
            <p:extLst/>
          </p:nvPr>
        </p:nvGraphicFramePr>
        <p:xfrm>
          <a:off x="609600" y="4557252"/>
          <a:ext cx="7924800" cy="1843548"/>
        </p:xfrm>
        <a:graphic>
          <a:graphicData uri="http://schemas.openxmlformats.org/drawingml/2006/table">
            <a:tbl>
              <a:tblPr firstRow="1" bandRow="1"/>
              <a:tblGrid>
                <a:gridCol w="685800"/>
                <a:gridCol w="7239000"/>
              </a:tblGrid>
              <a:tr h="5481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TH SarabunPSK" panose="020B0500040200020003" pitchFamily="34" charset="-34"/>
                          <a:ea typeface="+mn-ea"/>
                          <a:cs typeface="TH SarabunPSK" panose="020B0500040200020003" pitchFamily="34" charset="-34"/>
                        </a:rPr>
                        <a:t>Level 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</a:tr>
              <a:tr h="1295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latin typeface="TH SarabunPSK" panose="020B0500040200020003" pitchFamily="34" charset="-34"/>
                          <a:cs typeface="TH SarabunPSK" panose="020B0500040200020003" pitchFamily="34" charset="-34"/>
                        </a:rPr>
                        <a:t>Level 2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DDDD"/>
                    </a:solidFill>
                  </a:tcPr>
                </a:tc>
              </a:tr>
            </a:tbl>
          </a:graphicData>
        </a:graphic>
      </p:graphicFrame>
      <p:sp>
        <p:nvSpPr>
          <p:cNvPr id="500" name="Rectangle 499"/>
          <p:cNvSpPr/>
          <p:nvPr/>
        </p:nvSpPr>
        <p:spPr>
          <a:xfrm>
            <a:off x="4205748" y="3962400"/>
            <a:ext cx="832104" cy="173736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Main File</a:t>
            </a:r>
          </a:p>
        </p:txBody>
      </p:sp>
      <p:sp>
        <p:nvSpPr>
          <p:cNvPr id="501" name="Rectangle 500"/>
          <p:cNvSpPr/>
          <p:nvPr/>
        </p:nvSpPr>
        <p:spPr>
          <a:xfrm>
            <a:off x="3119252" y="4154614"/>
            <a:ext cx="713115" cy="173736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EF File</a:t>
            </a:r>
          </a:p>
        </p:txBody>
      </p:sp>
      <p:cxnSp>
        <p:nvCxnSpPr>
          <p:cNvPr id="502" name="Elbow Connector 501"/>
          <p:cNvCxnSpPr>
            <a:stCxn id="500" idx="2"/>
            <a:endCxn id="501" idx="3"/>
          </p:cNvCxnSpPr>
          <p:nvPr/>
        </p:nvCxnSpPr>
        <p:spPr>
          <a:xfrm rot="5400000">
            <a:off x="4174411" y="3794093"/>
            <a:ext cx="105346" cy="789433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503" name="Rectangle 502"/>
          <p:cNvSpPr/>
          <p:nvPr/>
        </p:nvSpPr>
        <p:spPr>
          <a:xfrm>
            <a:off x="1371600" y="4665405"/>
            <a:ext cx="777240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Common Product</a:t>
            </a:r>
          </a:p>
        </p:txBody>
      </p:sp>
      <p:sp>
        <p:nvSpPr>
          <p:cNvPr id="504" name="Rectangle 503"/>
          <p:cNvSpPr/>
          <p:nvPr/>
        </p:nvSpPr>
        <p:spPr>
          <a:xfrm>
            <a:off x="2257289" y="4670168"/>
            <a:ext cx="548640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SP1</a:t>
            </a:r>
          </a:p>
        </p:txBody>
      </p:sp>
      <p:sp>
        <p:nvSpPr>
          <p:cNvPr id="505" name="Rectangle 504"/>
          <p:cNvSpPr/>
          <p:nvPr/>
        </p:nvSpPr>
        <p:spPr>
          <a:xfrm>
            <a:off x="3105015" y="4667863"/>
            <a:ext cx="548640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SP2</a:t>
            </a:r>
          </a:p>
        </p:txBody>
      </p:sp>
      <p:sp>
        <p:nvSpPr>
          <p:cNvPr id="506" name="Rectangle 505"/>
          <p:cNvSpPr/>
          <p:nvPr/>
        </p:nvSpPr>
        <p:spPr>
          <a:xfrm>
            <a:off x="6989754" y="4665405"/>
            <a:ext cx="778384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Merchan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507" name="Elbow Connector 506"/>
          <p:cNvCxnSpPr>
            <a:stCxn id="500" idx="2"/>
            <a:endCxn id="503" idx="0"/>
          </p:cNvCxnSpPr>
          <p:nvPr/>
        </p:nvCxnSpPr>
        <p:spPr>
          <a:xfrm rot="5400000">
            <a:off x="2926376" y="2969980"/>
            <a:ext cx="529269" cy="286158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08" name="Elbow Connector 507"/>
          <p:cNvCxnSpPr>
            <a:stCxn id="500" idx="2"/>
            <a:endCxn id="504" idx="0"/>
          </p:cNvCxnSpPr>
          <p:nvPr/>
        </p:nvCxnSpPr>
        <p:spPr>
          <a:xfrm rot="5400000">
            <a:off x="3309689" y="3358057"/>
            <a:ext cx="534032" cy="209019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09" name="Elbow Connector 508"/>
          <p:cNvCxnSpPr>
            <a:stCxn id="500" idx="2"/>
            <a:endCxn id="505" idx="0"/>
          </p:cNvCxnSpPr>
          <p:nvPr/>
        </p:nvCxnSpPr>
        <p:spPr>
          <a:xfrm rot="5400000">
            <a:off x="3734705" y="3780767"/>
            <a:ext cx="531727" cy="124246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10" name="Elbow Connector 509"/>
          <p:cNvCxnSpPr>
            <a:stCxn id="500" idx="2"/>
            <a:endCxn id="506" idx="0"/>
          </p:cNvCxnSpPr>
          <p:nvPr/>
        </p:nvCxnSpPr>
        <p:spPr>
          <a:xfrm rot="16200000" flipH="1">
            <a:off x="5735739" y="3022197"/>
            <a:ext cx="529269" cy="275714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511" name="Rectangle 510"/>
          <p:cNvSpPr/>
          <p:nvPr/>
        </p:nvSpPr>
        <p:spPr>
          <a:xfrm>
            <a:off x="2388927" y="5210349"/>
            <a:ext cx="716087" cy="2286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roduct 1</a:t>
            </a:r>
          </a:p>
        </p:txBody>
      </p:sp>
      <p:sp>
        <p:nvSpPr>
          <p:cNvPr id="512" name="Rectangle 511"/>
          <p:cNvSpPr/>
          <p:nvPr/>
        </p:nvSpPr>
        <p:spPr>
          <a:xfrm>
            <a:off x="2385879" y="5511713"/>
            <a:ext cx="719135" cy="2286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roduct 2</a:t>
            </a:r>
          </a:p>
        </p:txBody>
      </p:sp>
      <p:cxnSp>
        <p:nvCxnSpPr>
          <p:cNvPr id="513" name="Elbow Connector 512"/>
          <p:cNvCxnSpPr>
            <a:endCxn id="511" idx="1"/>
          </p:cNvCxnSpPr>
          <p:nvPr/>
        </p:nvCxnSpPr>
        <p:spPr>
          <a:xfrm rot="16200000" flipH="1">
            <a:off x="2174167" y="5109889"/>
            <a:ext cx="350270" cy="79250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14" name="Elbow Connector 513"/>
          <p:cNvCxnSpPr>
            <a:endCxn id="512" idx="1"/>
          </p:cNvCxnSpPr>
          <p:nvPr/>
        </p:nvCxnSpPr>
        <p:spPr>
          <a:xfrm rot="16200000" flipH="1">
            <a:off x="2019504" y="5259638"/>
            <a:ext cx="656550" cy="76200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515" name="Rectangle 514"/>
          <p:cNvSpPr/>
          <p:nvPr/>
        </p:nvSpPr>
        <p:spPr>
          <a:xfrm>
            <a:off x="3240879" y="5202078"/>
            <a:ext cx="721385" cy="2286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roduct 3</a:t>
            </a:r>
          </a:p>
        </p:txBody>
      </p:sp>
      <p:sp>
        <p:nvSpPr>
          <p:cNvPr id="516" name="Rectangle 515"/>
          <p:cNvSpPr/>
          <p:nvPr/>
        </p:nvSpPr>
        <p:spPr>
          <a:xfrm>
            <a:off x="3241015" y="5502499"/>
            <a:ext cx="721385" cy="2286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roduct 4</a:t>
            </a:r>
          </a:p>
        </p:txBody>
      </p:sp>
      <p:cxnSp>
        <p:nvCxnSpPr>
          <p:cNvPr id="517" name="Elbow Connector 516"/>
          <p:cNvCxnSpPr>
            <a:endCxn id="515" idx="1"/>
          </p:cNvCxnSpPr>
          <p:nvPr/>
        </p:nvCxnSpPr>
        <p:spPr>
          <a:xfrm rot="16200000" flipH="1">
            <a:off x="3024417" y="5099916"/>
            <a:ext cx="349220" cy="83704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18" name="Elbow Connector 517"/>
          <p:cNvCxnSpPr>
            <a:endCxn id="516" idx="1"/>
          </p:cNvCxnSpPr>
          <p:nvPr/>
        </p:nvCxnSpPr>
        <p:spPr>
          <a:xfrm rot="16200000" flipH="1">
            <a:off x="2882213" y="5257997"/>
            <a:ext cx="633766" cy="83838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519" name="Rectangle 518"/>
          <p:cNvSpPr/>
          <p:nvPr/>
        </p:nvSpPr>
        <p:spPr>
          <a:xfrm>
            <a:off x="1553988" y="5196397"/>
            <a:ext cx="644700" cy="2286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urse</a:t>
            </a:r>
          </a:p>
        </p:txBody>
      </p:sp>
      <p:sp>
        <p:nvSpPr>
          <p:cNvPr id="520" name="Rectangle 519"/>
          <p:cNvSpPr/>
          <p:nvPr/>
        </p:nvSpPr>
        <p:spPr>
          <a:xfrm>
            <a:off x="1553988" y="5502095"/>
            <a:ext cx="644700" cy="2286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Pass</a:t>
            </a:r>
          </a:p>
        </p:txBody>
      </p:sp>
      <p:cxnSp>
        <p:nvCxnSpPr>
          <p:cNvPr id="521" name="Elbow Connector 520"/>
          <p:cNvCxnSpPr>
            <a:endCxn id="519" idx="1"/>
          </p:cNvCxnSpPr>
          <p:nvPr/>
        </p:nvCxnSpPr>
        <p:spPr>
          <a:xfrm rot="16200000" flipH="1">
            <a:off x="1341257" y="5097966"/>
            <a:ext cx="327664" cy="97798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22" name="Elbow Connector 521"/>
          <p:cNvCxnSpPr>
            <a:endCxn id="520" idx="1"/>
          </p:cNvCxnSpPr>
          <p:nvPr/>
        </p:nvCxnSpPr>
        <p:spPr>
          <a:xfrm rot="16200000" flipH="1">
            <a:off x="1188410" y="5250816"/>
            <a:ext cx="633361" cy="97796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525" name="Rectangle 524"/>
          <p:cNvSpPr/>
          <p:nvPr/>
        </p:nvSpPr>
        <p:spPr>
          <a:xfrm>
            <a:off x="4572000" y="4672473"/>
            <a:ext cx="640080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Othe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Transi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34" name="Rectangle 533"/>
          <p:cNvSpPr/>
          <p:nvPr/>
        </p:nvSpPr>
        <p:spPr>
          <a:xfrm>
            <a:off x="7863840" y="4665407"/>
            <a:ext cx="594360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Spare</a:t>
            </a:r>
          </a:p>
        </p:txBody>
      </p:sp>
      <p:cxnSp>
        <p:nvCxnSpPr>
          <p:cNvPr id="537" name="Elbow Connector 536"/>
          <p:cNvCxnSpPr>
            <a:stCxn id="500" idx="2"/>
            <a:endCxn id="525" idx="0"/>
          </p:cNvCxnSpPr>
          <p:nvPr/>
        </p:nvCxnSpPr>
        <p:spPr>
          <a:xfrm rot="16200000" flipH="1">
            <a:off x="4488752" y="4269184"/>
            <a:ext cx="536337" cy="27024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38" name="Elbow Connector 537"/>
          <p:cNvCxnSpPr>
            <a:stCxn id="500" idx="2"/>
            <a:endCxn id="534" idx="0"/>
          </p:cNvCxnSpPr>
          <p:nvPr/>
        </p:nvCxnSpPr>
        <p:spPr>
          <a:xfrm rot="16200000" flipH="1">
            <a:off x="6126775" y="2631161"/>
            <a:ext cx="529271" cy="353922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553" name="TextBox 552"/>
          <p:cNvSpPr txBox="1"/>
          <p:nvPr/>
        </p:nvSpPr>
        <p:spPr>
          <a:xfrm>
            <a:off x="1310091" y="3542904"/>
            <a:ext cx="3339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defRPr>
            </a:lvl1pPr>
          </a:lstStyle>
          <a:p>
            <a:r>
              <a:rPr lang="th-TH" sz="12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ทางเลือกของประเทศไทย</a:t>
            </a:r>
            <a:r>
              <a:rPr lang="en-US" sz="12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:  Enhanced Design Combining Option 1+2</a:t>
            </a:r>
            <a:endParaRPr lang="en-US" sz="12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54" name="Rounded Rectangle 553"/>
          <p:cNvSpPr/>
          <p:nvPr/>
        </p:nvSpPr>
        <p:spPr>
          <a:xfrm>
            <a:off x="161924" y="835032"/>
            <a:ext cx="4379401" cy="2670157"/>
          </a:xfrm>
          <a:custGeom>
            <a:avLst/>
            <a:gdLst>
              <a:gd name="connsiteX0" fmla="*/ 0 w 4397230"/>
              <a:gd name="connsiteY0" fmla="*/ 444509 h 2667000"/>
              <a:gd name="connsiteX1" fmla="*/ 444509 w 4397230"/>
              <a:gd name="connsiteY1" fmla="*/ 0 h 2667000"/>
              <a:gd name="connsiteX2" fmla="*/ 3952721 w 4397230"/>
              <a:gd name="connsiteY2" fmla="*/ 0 h 2667000"/>
              <a:gd name="connsiteX3" fmla="*/ 4397230 w 4397230"/>
              <a:gd name="connsiteY3" fmla="*/ 444509 h 2667000"/>
              <a:gd name="connsiteX4" fmla="*/ 4397230 w 4397230"/>
              <a:gd name="connsiteY4" fmla="*/ 2222491 h 2667000"/>
              <a:gd name="connsiteX5" fmla="*/ 3952721 w 4397230"/>
              <a:gd name="connsiteY5" fmla="*/ 2667000 h 2667000"/>
              <a:gd name="connsiteX6" fmla="*/ 444509 w 4397230"/>
              <a:gd name="connsiteY6" fmla="*/ 2667000 h 2667000"/>
              <a:gd name="connsiteX7" fmla="*/ 0 w 4397230"/>
              <a:gd name="connsiteY7" fmla="*/ 2222491 h 2667000"/>
              <a:gd name="connsiteX8" fmla="*/ 0 w 4397230"/>
              <a:gd name="connsiteY8" fmla="*/ 444509 h 2667000"/>
              <a:gd name="connsiteX0" fmla="*/ 0 w 4397230"/>
              <a:gd name="connsiteY0" fmla="*/ 444509 h 2667000"/>
              <a:gd name="connsiteX1" fmla="*/ 444509 w 4397230"/>
              <a:gd name="connsiteY1" fmla="*/ 0 h 2667000"/>
              <a:gd name="connsiteX2" fmla="*/ 4397230 w 4397230"/>
              <a:gd name="connsiteY2" fmla="*/ 444509 h 2667000"/>
              <a:gd name="connsiteX3" fmla="*/ 4397230 w 4397230"/>
              <a:gd name="connsiteY3" fmla="*/ 2222491 h 2667000"/>
              <a:gd name="connsiteX4" fmla="*/ 3952721 w 4397230"/>
              <a:gd name="connsiteY4" fmla="*/ 2667000 h 2667000"/>
              <a:gd name="connsiteX5" fmla="*/ 444509 w 4397230"/>
              <a:gd name="connsiteY5" fmla="*/ 2667000 h 2667000"/>
              <a:gd name="connsiteX6" fmla="*/ 0 w 4397230"/>
              <a:gd name="connsiteY6" fmla="*/ 2222491 h 2667000"/>
              <a:gd name="connsiteX7" fmla="*/ 0 w 4397230"/>
              <a:gd name="connsiteY7" fmla="*/ 444509 h 2667000"/>
              <a:gd name="connsiteX0" fmla="*/ 0 w 4397230"/>
              <a:gd name="connsiteY0" fmla="*/ 447675 h 2670166"/>
              <a:gd name="connsiteX1" fmla="*/ 444509 w 4397230"/>
              <a:gd name="connsiteY1" fmla="*/ 3166 h 2670166"/>
              <a:gd name="connsiteX2" fmla="*/ 4378180 w 4397230"/>
              <a:gd name="connsiteY2" fmla="*/ 0 h 2670166"/>
              <a:gd name="connsiteX3" fmla="*/ 4397230 w 4397230"/>
              <a:gd name="connsiteY3" fmla="*/ 2225657 h 2670166"/>
              <a:gd name="connsiteX4" fmla="*/ 3952721 w 4397230"/>
              <a:gd name="connsiteY4" fmla="*/ 2670166 h 2670166"/>
              <a:gd name="connsiteX5" fmla="*/ 444509 w 4397230"/>
              <a:gd name="connsiteY5" fmla="*/ 2670166 h 2670166"/>
              <a:gd name="connsiteX6" fmla="*/ 0 w 4397230"/>
              <a:gd name="connsiteY6" fmla="*/ 2225657 h 2670166"/>
              <a:gd name="connsiteX7" fmla="*/ 0 w 4397230"/>
              <a:gd name="connsiteY7" fmla="*/ 447675 h 2670166"/>
              <a:gd name="connsiteX0" fmla="*/ 0 w 4397230"/>
              <a:gd name="connsiteY0" fmla="*/ 447675 h 2670166"/>
              <a:gd name="connsiteX1" fmla="*/ 444509 w 4397230"/>
              <a:gd name="connsiteY1" fmla="*/ 3166 h 2670166"/>
              <a:gd name="connsiteX2" fmla="*/ 4378180 w 4397230"/>
              <a:gd name="connsiteY2" fmla="*/ 0 h 2670166"/>
              <a:gd name="connsiteX3" fmla="*/ 4397230 w 4397230"/>
              <a:gd name="connsiteY3" fmla="*/ 2225657 h 2670166"/>
              <a:gd name="connsiteX4" fmla="*/ 444509 w 4397230"/>
              <a:gd name="connsiteY4" fmla="*/ 2670166 h 2670166"/>
              <a:gd name="connsiteX5" fmla="*/ 0 w 4397230"/>
              <a:gd name="connsiteY5" fmla="*/ 2225657 h 2670166"/>
              <a:gd name="connsiteX6" fmla="*/ 0 w 4397230"/>
              <a:gd name="connsiteY6" fmla="*/ 447675 h 2670166"/>
              <a:gd name="connsiteX0" fmla="*/ 0 w 4397230"/>
              <a:gd name="connsiteY0" fmla="*/ 447675 h 2872666"/>
              <a:gd name="connsiteX1" fmla="*/ 444509 w 4397230"/>
              <a:gd name="connsiteY1" fmla="*/ 3166 h 2872666"/>
              <a:gd name="connsiteX2" fmla="*/ 4378180 w 4397230"/>
              <a:gd name="connsiteY2" fmla="*/ 0 h 2872666"/>
              <a:gd name="connsiteX3" fmla="*/ 4397230 w 4397230"/>
              <a:gd name="connsiteY3" fmla="*/ 2676507 h 2872666"/>
              <a:gd name="connsiteX4" fmla="*/ 444509 w 4397230"/>
              <a:gd name="connsiteY4" fmla="*/ 2670166 h 2872666"/>
              <a:gd name="connsiteX5" fmla="*/ 0 w 4397230"/>
              <a:gd name="connsiteY5" fmla="*/ 2225657 h 2872666"/>
              <a:gd name="connsiteX6" fmla="*/ 0 w 4397230"/>
              <a:gd name="connsiteY6" fmla="*/ 447675 h 2872666"/>
              <a:gd name="connsiteX0" fmla="*/ 0 w 4397230"/>
              <a:gd name="connsiteY0" fmla="*/ 447675 h 2676507"/>
              <a:gd name="connsiteX1" fmla="*/ 444509 w 4397230"/>
              <a:gd name="connsiteY1" fmla="*/ 3166 h 2676507"/>
              <a:gd name="connsiteX2" fmla="*/ 4378180 w 4397230"/>
              <a:gd name="connsiteY2" fmla="*/ 0 h 2676507"/>
              <a:gd name="connsiteX3" fmla="*/ 4397230 w 4397230"/>
              <a:gd name="connsiteY3" fmla="*/ 2676507 h 2676507"/>
              <a:gd name="connsiteX4" fmla="*/ 444509 w 4397230"/>
              <a:gd name="connsiteY4" fmla="*/ 2670166 h 2676507"/>
              <a:gd name="connsiteX5" fmla="*/ 0 w 4397230"/>
              <a:gd name="connsiteY5" fmla="*/ 2225657 h 2676507"/>
              <a:gd name="connsiteX6" fmla="*/ 0 w 4397230"/>
              <a:gd name="connsiteY6" fmla="*/ 447675 h 2676507"/>
              <a:gd name="connsiteX0" fmla="*/ 0 w 4390880"/>
              <a:gd name="connsiteY0" fmla="*/ 447675 h 2670166"/>
              <a:gd name="connsiteX1" fmla="*/ 444509 w 4390880"/>
              <a:gd name="connsiteY1" fmla="*/ 3166 h 2670166"/>
              <a:gd name="connsiteX2" fmla="*/ 4378180 w 4390880"/>
              <a:gd name="connsiteY2" fmla="*/ 0 h 2670166"/>
              <a:gd name="connsiteX3" fmla="*/ 4390880 w 4390880"/>
              <a:gd name="connsiteY3" fmla="*/ 2670157 h 2670166"/>
              <a:gd name="connsiteX4" fmla="*/ 444509 w 4390880"/>
              <a:gd name="connsiteY4" fmla="*/ 2670166 h 2670166"/>
              <a:gd name="connsiteX5" fmla="*/ 0 w 4390880"/>
              <a:gd name="connsiteY5" fmla="*/ 2225657 h 2670166"/>
              <a:gd name="connsiteX6" fmla="*/ 0 w 4390880"/>
              <a:gd name="connsiteY6" fmla="*/ 447675 h 2670166"/>
              <a:gd name="connsiteX0" fmla="*/ 0 w 4379401"/>
              <a:gd name="connsiteY0" fmla="*/ 447675 h 2670166"/>
              <a:gd name="connsiteX1" fmla="*/ 444509 w 4379401"/>
              <a:gd name="connsiteY1" fmla="*/ 3166 h 2670166"/>
              <a:gd name="connsiteX2" fmla="*/ 4378180 w 4379401"/>
              <a:gd name="connsiteY2" fmla="*/ 0 h 2670166"/>
              <a:gd name="connsiteX3" fmla="*/ 4378180 w 4379401"/>
              <a:gd name="connsiteY3" fmla="*/ 2670157 h 2670166"/>
              <a:gd name="connsiteX4" fmla="*/ 444509 w 4379401"/>
              <a:gd name="connsiteY4" fmla="*/ 2670166 h 2670166"/>
              <a:gd name="connsiteX5" fmla="*/ 0 w 4379401"/>
              <a:gd name="connsiteY5" fmla="*/ 2225657 h 2670166"/>
              <a:gd name="connsiteX6" fmla="*/ 0 w 4379401"/>
              <a:gd name="connsiteY6" fmla="*/ 447675 h 2670166"/>
              <a:gd name="connsiteX0" fmla="*/ 54893 w 4434294"/>
              <a:gd name="connsiteY0" fmla="*/ 447675 h 2670166"/>
              <a:gd name="connsiteX1" fmla="*/ 499402 w 4434294"/>
              <a:gd name="connsiteY1" fmla="*/ 3166 h 2670166"/>
              <a:gd name="connsiteX2" fmla="*/ 4433073 w 4434294"/>
              <a:gd name="connsiteY2" fmla="*/ 0 h 2670166"/>
              <a:gd name="connsiteX3" fmla="*/ 4433073 w 4434294"/>
              <a:gd name="connsiteY3" fmla="*/ 2670157 h 2670166"/>
              <a:gd name="connsiteX4" fmla="*/ 499402 w 4434294"/>
              <a:gd name="connsiteY4" fmla="*/ 2670166 h 2670166"/>
              <a:gd name="connsiteX5" fmla="*/ 54893 w 4434294"/>
              <a:gd name="connsiteY5" fmla="*/ 447675 h 2670166"/>
              <a:gd name="connsiteX0" fmla="*/ 0 w 4379401"/>
              <a:gd name="connsiteY0" fmla="*/ 447675 h 2670166"/>
              <a:gd name="connsiteX1" fmla="*/ 444509 w 4379401"/>
              <a:gd name="connsiteY1" fmla="*/ 3166 h 2670166"/>
              <a:gd name="connsiteX2" fmla="*/ 4378180 w 4379401"/>
              <a:gd name="connsiteY2" fmla="*/ 0 h 2670166"/>
              <a:gd name="connsiteX3" fmla="*/ 4378180 w 4379401"/>
              <a:gd name="connsiteY3" fmla="*/ 2670157 h 2670166"/>
              <a:gd name="connsiteX4" fmla="*/ 444509 w 4379401"/>
              <a:gd name="connsiteY4" fmla="*/ 2670166 h 2670166"/>
              <a:gd name="connsiteX5" fmla="*/ 0 w 4379401"/>
              <a:gd name="connsiteY5" fmla="*/ 447675 h 2670166"/>
              <a:gd name="connsiteX0" fmla="*/ 14634 w 4394035"/>
              <a:gd name="connsiteY0" fmla="*/ 447675 h 2670157"/>
              <a:gd name="connsiteX1" fmla="*/ 459143 w 4394035"/>
              <a:gd name="connsiteY1" fmla="*/ 3166 h 2670157"/>
              <a:gd name="connsiteX2" fmla="*/ 4392814 w 4394035"/>
              <a:gd name="connsiteY2" fmla="*/ 0 h 2670157"/>
              <a:gd name="connsiteX3" fmla="*/ 4392814 w 4394035"/>
              <a:gd name="connsiteY3" fmla="*/ 2670157 h 2670157"/>
              <a:gd name="connsiteX4" fmla="*/ 65951 w 4394035"/>
              <a:gd name="connsiteY4" fmla="*/ 2661022 h 2670157"/>
              <a:gd name="connsiteX5" fmla="*/ 14634 w 4394035"/>
              <a:gd name="connsiteY5" fmla="*/ 447675 h 2670157"/>
              <a:gd name="connsiteX0" fmla="*/ 0 w 4379401"/>
              <a:gd name="connsiteY0" fmla="*/ 447675 h 2670157"/>
              <a:gd name="connsiteX1" fmla="*/ 444509 w 4379401"/>
              <a:gd name="connsiteY1" fmla="*/ 3166 h 2670157"/>
              <a:gd name="connsiteX2" fmla="*/ 4378180 w 4379401"/>
              <a:gd name="connsiteY2" fmla="*/ 0 h 2670157"/>
              <a:gd name="connsiteX3" fmla="*/ 4378180 w 4379401"/>
              <a:gd name="connsiteY3" fmla="*/ 2670157 h 2670157"/>
              <a:gd name="connsiteX4" fmla="*/ 51317 w 4379401"/>
              <a:gd name="connsiteY4" fmla="*/ 2661022 h 2670157"/>
              <a:gd name="connsiteX5" fmla="*/ 0 w 4379401"/>
              <a:gd name="connsiteY5" fmla="*/ 447675 h 2670157"/>
              <a:gd name="connsiteX0" fmla="*/ 1472 w 4380873"/>
              <a:gd name="connsiteY0" fmla="*/ 447675 h 2670166"/>
              <a:gd name="connsiteX1" fmla="*/ 445981 w 4380873"/>
              <a:gd name="connsiteY1" fmla="*/ 3166 h 2670166"/>
              <a:gd name="connsiteX2" fmla="*/ 4379652 w 4380873"/>
              <a:gd name="connsiteY2" fmla="*/ 0 h 2670166"/>
              <a:gd name="connsiteX3" fmla="*/ 4379652 w 4380873"/>
              <a:gd name="connsiteY3" fmla="*/ 2670157 h 2670166"/>
              <a:gd name="connsiteX4" fmla="*/ 25357 w 4380873"/>
              <a:gd name="connsiteY4" fmla="*/ 2670166 h 2670166"/>
              <a:gd name="connsiteX5" fmla="*/ 1472 w 4380873"/>
              <a:gd name="connsiteY5" fmla="*/ 447675 h 2670166"/>
              <a:gd name="connsiteX0" fmla="*/ 7594 w 4386995"/>
              <a:gd name="connsiteY0" fmla="*/ 447675 h 2670157"/>
              <a:gd name="connsiteX1" fmla="*/ 452103 w 4386995"/>
              <a:gd name="connsiteY1" fmla="*/ 3166 h 2670157"/>
              <a:gd name="connsiteX2" fmla="*/ 4385774 w 4386995"/>
              <a:gd name="connsiteY2" fmla="*/ 0 h 2670157"/>
              <a:gd name="connsiteX3" fmla="*/ 4385774 w 4386995"/>
              <a:gd name="connsiteY3" fmla="*/ 2670157 h 2670157"/>
              <a:gd name="connsiteX4" fmla="*/ 18779 w 4386995"/>
              <a:gd name="connsiteY4" fmla="*/ 2657466 h 2670157"/>
              <a:gd name="connsiteX5" fmla="*/ 7594 w 4386995"/>
              <a:gd name="connsiteY5" fmla="*/ 447675 h 2670157"/>
              <a:gd name="connsiteX0" fmla="*/ 0 w 4379401"/>
              <a:gd name="connsiteY0" fmla="*/ 447675 h 2670157"/>
              <a:gd name="connsiteX1" fmla="*/ 444509 w 4379401"/>
              <a:gd name="connsiteY1" fmla="*/ 3166 h 2670157"/>
              <a:gd name="connsiteX2" fmla="*/ 4378180 w 4379401"/>
              <a:gd name="connsiteY2" fmla="*/ 0 h 2670157"/>
              <a:gd name="connsiteX3" fmla="*/ 4378180 w 4379401"/>
              <a:gd name="connsiteY3" fmla="*/ 2670157 h 2670157"/>
              <a:gd name="connsiteX4" fmla="*/ 11185 w 4379401"/>
              <a:gd name="connsiteY4" fmla="*/ 2657466 h 2670157"/>
              <a:gd name="connsiteX5" fmla="*/ 0 w 4379401"/>
              <a:gd name="connsiteY5" fmla="*/ 447675 h 2670157"/>
              <a:gd name="connsiteX0" fmla="*/ 22223 w 4401624"/>
              <a:gd name="connsiteY0" fmla="*/ 447675 h 2670157"/>
              <a:gd name="connsiteX1" fmla="*/ 466732 w 4401624"/>
              <a:gd name="connsiteY1" fmla="*/ 3166 h 2670157"/>
              <a:gd name="connsiteX2" fmla="*/ 4400403 w 4401624"/>
              <a:gd name="connsiteY2" fmla="*/ 0 h 2670157"/>
              <a:gd name="connsiteX3" fmla="*/ 4400403 w 4401624"/>
              <a:gd name="connsiteY3" fmla="*/ 2670157 h 2670157"/>
              <a:gd name="connsiteX4" fmla="*/ 1658 w 4401624"/>
              <a:gd name="connsiteY4" fmla="*/ 2651116 h 2670157"/>
              <a:gd name="connsiteX5" fmla="*/ 22223 w 4401624"/>
              <a:gd name="connsiteY5" fmla="*/ 447675 h 2670157"/>
              <a:gd name="connsiteX0" fmla="*/ 5089 w 4384490"/>
              <a:gd name="connsiteY0" fmla="*/ 447675 h 2670157"/>
              <a:gd name="connsiteX1" fmla="*/ 449598 w 4384490"/>
              <a:gd name="connsiteY1" fmla="*/ 3166 h 2670157"/>
              <a:gd name="connsiteX2" fmla="*/ 4383269 w 4384490"/>
              <a:gd name="connsiteY2" fmla="*/ 0 h 2670157"/>
              <a:gd name="connsiteX3" fmla="*/ 4383269 w 4384490"/>
              <a:gd name="connsiteY3" fmla="*/ 2670157 h 2670157"/>
              <a:gd name="connsiteX4" fmla="*/ 3574 w 4384490"/>
              <a:gd name="connsiteY4" fmla="*/ 2657466 h 2670157"/>
              <a:gd name="connsiteX5" fmla="*/ 5089 w 4384490"/>
              <a:gd name="connsiteY5" fmla="*/ 447675 h 2670157"/>
              <a:gd name="connsiteX0" fmla="*/ 1515 w 4380916"/>
              <a:gd name="connsiteY0" fmla="*/ 447675 h 2670157"/>
              <a:gd name="connsiteX1" fmla="*/ 446024 w 4380916"/>
              <a:gd name="connsiteY1" fmla="*/ 3166 h 2670157"/>
              <a:gd name="connsiteX2" fmla="*/ 4379695 w 4380916"/>
              <a:gd name="connsiteY2" fmla="*/ 0 h 2670157"/>
              <a:gd name="connsiteX3" fmla="*/ 4379695 w 4380916"/>
              <a:gd name="connsiteY3" fmla="*/ 2670157 h 2670157"/>
              <a:gd name="connsiteX4" fmla="*/ 0 w 4380916"/>
              <a:gd name="connsiteY4" fmla="*/ 2657466 h 2670157"/>
              <a:gd name="connsiteX5" fmla="*/ 1515 w 4380916"/>
              <a:gd name="connsiteY5" fmla="*/ 447675 h 2670157"/>
              <a:gd name="connsiteX0" fmla="*/ 0 w 4379401"/>
              <a:gd name="connsiteY0" fmla="*/ 447675 h 2670157"/>
              <a:gd name="connsiteX1" fmla="*/ 444509 w 4379401"/>
              <a:gd name="connsiteY1" fmla="*/ 3166 h 2670157"/>
              <a:gd name="connsiteX2" fmla="*/ 4378180 w 4379401"/>
              <a:gd name="connsiteY2" fmla="*/ 0 h 2670157"/>
              <a:gd name="connsiteX3" fmla="*/ 4378180 w 4379401"/>
              <a:gd name="connsiteY3" fmla="*/ 2670157 h 2670157"/>
              <a:gd name="connsiteX4" fmla="*/ 866 w 4379401"/>
              <a:gd name="connsiteY4" fmla="*/ 2659847 h 2670157"/>
              <a:gd name="connsiteX5" fmla="*/ 0 w 4379401"/>
              <a:gd name="connsiteY5" fmla="*/ 447675 h 2670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79401" h="2670157">
                <a:moveTo>
                  <a:pt x="0" y="447675"/>
                </a:moveTo>
                <a:cubicBezTo>
                  <a:pt x="0" y="202179"/>
                  <a:pt x="199013" y="3166"/>
                  <a:pt x="444509" y="3166"/>
                </a:cubicBezTo>
                <a:lnTo>
                  <a:pt x="4378180" y="0"/>
                </a:lnTo>
                <a:cubicBezTo>
                  <a:pt x="4382413" y="890052"/>
                  <a:pt x="4373947" y="1780105"/>
                  <a:pt x="4378180" y="2670157"/>
                </a:cubicBezTo>
                <a:cubicBezTo>
                  <a:pt x="4243268" y="2664335"/>
                  <a:pt x="733738" y="2659847"/>
                  <a:pt x="866" y="2659847"/>
                </a:cubicBezTo>
                <a:cubicBezTo>
                  <a:pt x="1546" y="2200946"/>
                  <a:pt x="0" y="892175"/>
                  <a:pt x="0" y="447675"/>
                </a:cubicBezTo>
                <a:close/>
              </a:path>
            </a:pathLst>
          </a:custGeom>
          <a:noFill/>
          <a:ln w="952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55" name="Rounded Rectangle 554"/>
          <p:cNvSpPr/>
          <p:nvPr/>
        </p:nvSpPr>
        <p:spPr>
          <a:xfrm>
            <a:off x="4543556" y="838200"/>
            <a:ext cx="4431725" cy="2667000"/>
          </a:xfrm>
          <a:custGeom>
            <a:avLst/>
            <a:gdLst>
              <a:gd name="connsiteX0" fmla="*/ 0 w 4397230"/>
              <a:gd name="connsiteY0" fmla="*/ 444509 h 2667000"/>
              <a:gd name="connsiteX1" fmla="*/ 444509 w 4397230"/>
              <a:gd name="connsiteY1" fmla="*/ 0 h 2667000"/>
              <a:gd name="connsiteX2" fmla="*/ 3952721 w 4397230"/>
              <a:gd name="connsiteY2" fmla="*/ 0 h 2667000"/>
              <a:gd name="connsiteX3" fmla="*/ 4397230 w 4397230"/>
              <a:gd name="connsiteY3" fmla="*/ 444509 h 2667000"/>
              <a:gd name="connsiteX4" fmla="*/ 4397230 w 4397230"/>
              <a:gd name="connsiteY4" fmla="*/ 2222491 h 2667000"/>
              <a:gd name="connsiteX5" fmla="*/ 3952721 w 4397230"/>
              <a:gd name="connsiteY5" fmla="*/ 2667000 h 2667000"/>
              <a:gd name="connsiteX6" fmla="*/ 444509 w 4397230"/>
              <a:gd name="connsiteY6" fmla="*/ 2667000 h 2667000"/>
              <a:gd name="connsiteX7" fmla="*/ 0 w 4397230"/>
              <a:gd name="connsiteY7" fmla="*/ 2222491 h 2667000"/>
              <a:gd name="connsiteX8" fmla="*/ 0 w 4397230"/>
              <a:gd name="connsiteY8" fmla="*/ 444509 h 2667000"/>
              <a:gd name="connsiteX0" fmla="*/ 0 w 4397230"/>
              <a:gd name="connsiteY0" fmla="*/ 2222491 h 2667000"/>
              <a:gd name="connsiteX1" fmla="*/ 444509 w 4397230"/>
              <a:gd name="connsiteY1" fmla="*/ 0 h 2667000"/>
              <a:gd name="connsiteX2" fmla="*/ 3952721 w 4397230"/>
              <a:gd name="connsiteY2" fmla="*/ 0 h 2667000"/>
              <a:gd name="connsiteX3" fmla="*/ 4397230 w 4397230"/>
              <a:gd name="connsiteY3" fmla="*/ 444509 h 2667000"/>
              <a:gd name="connsiteX4" fmla="*/ 4397230 w 4397230"/>
              <a:gd name="connsiteY4" fmla="*/ 2222491 h 2667000"/>
              <a:gd name="connsiteX5" fmla="*/ 3952721 w 4397230"/>
              <a:gd name="connsiteY5" fmla="*/ 2667000 h 2667000"/>
              <a:gd name="connsiteX6" fmla="*/ 444509 w 4397230"/>
              <a:gd name="connsiteY6" fmla="*/ 2667000 h 2667000"/>
              <a:gd name="connsiteX7" fmla="*/ 0 w 4397230"/>
              <a:gd name="connsiteY7" fmla="*/ 2222491 h 2667000"/>
              <a:gd name="connsiteX0" fmla="*/ 22216 w 4419446"/>
              <a:gd name="connsiteY0" fmla="*/ 2222491 h 2667000"/>
              <a:gd name="connsiteX1" fmla="*/ 0 w 4419446"/>
              <a:gd name="connsiteY1" fmla="*/ 0 h 2667000"/>
              <a:gd name="connsiteX2" fmla="*/ 3974937 w 4419446"/>
              <a:gd name="connsiteY2" fmla="*/ 0 h 2667000"/>
              <a:gd name="connsiteX3" fmla="*/ 4419446 w 4419446"/>
              <a:gd name="connsiteY3" fmla="*/ 444509 h 2667000"/>
              <a:gd name="connsiteX4" fmla="*/ 4419446 w 4419446"/>
              <a:gd name="connsiteY4" fmla="*/ 2222491 h 2667000"/>
              <a:gd name="connsiteX5" fmla="*/ 3974937 w 4419446"/>
              <a:gd name="connsiteY5" fmla="*/ 2667000 h 2667000"/>
              <a:gd name="connsiteX6" fmla="*/ 466725 w 4419446"/>
              <a:gd name="connsiteY6" fmla="*/ 2667000 h 2667000"/>
              <a:gd name="connsiteX7" fmla="*/ 22216 w 4419446"/>
              <a:gd name="connsiteY7" fmla="*/ 2222491 h 2667000"/>
              <a:gd name="connsiteX0" fmla="*/ 752991 w 4705712"/>
              <a:gd name="connsiteY0" fmla="*/ 2667000 h 2667000"/>
              <a:gd name="connsiteX1" fmla="*/ 286266 w 4705712"/>
              <a:gd name="connsiteY1" fmla="*/ 0 h 2667000"/>
              <a:gd name="connsiteX2" fmla="*/ 4261203 w 4705712"/>
              <a:gd name="connsiteY2" fmla="*/ 0 h 2667000"/>
              <a:gd name="connsiteX3" fmla="*/ 4705712 w 4705712"/>
              <a:gd name="connsiteY3" fmla="*/ 444509 h 2667000"/>
              <a:gd name="connsiteX4" fmla="*/ 4705712 w 4705712"/>
              <a:gd name="connsiteY4" fmla="*/ 2222491 h 2667000"/>
              <a:gd name="connsiteX5" fmla="*/ 4261203 w 4705712"/>
              <a:gd name="connsiteY5" fmla="*/ 2667000 h 2667000"/>
              <a:gd name="connsiteX6" fmla="*/ 752991 w 4705712"/>
              <a:gd name="connsiteY6" fmla="*/ 2667000 h 2667000"/>
              <a:gd name="connsiteX0" fmla="*/ 482016 w 4872887"/>
              <a:gd name="connsiteY0" fmla="*/ 2660650 h 2667000"/>
              <a:gd name="connsiteX1" fmla="*/ 453441 w 4872887"/>
              <a:gd name="connsiteY1" fmla="*/ 0 h 2667000"/>
              <a:gd name="connsiteX2" fmla="*/ 4428378 w 4872887"/>
              <a:gd name="connsiteY2" fmla="*/ 0 h 2667000"/>
              <a:gd name="connsiteX3" fmla="*/ 4872887 w 4872887"/>
              <a:gd name="connsiteY3" fmla="*/ 444509 h 2667000"/>
              <a:gd name="connsiteX4" fmla="*/ 4872887 w 4872887"/>
              <a:gd name="connsiteY4" fmla="*/ 2222491 h 2667000"/>
              <a:gd name="connsiteX5" fmla="*/ 4428378 w 4872887"/>
              <a:gd name="connsiteY5" fmla="*/ 2667000 h 2667000"/>
              <a:gd name="connsiteX6" fmla="*/ 482016 w 4872887"/>
              <a:gd name="connsiteY6" fmla="*/ 2660650 h 2667000"/>
              <a:gd name="connsiteX0" fmla="*/ 284397 w 4675268"/>
              <a:gd name="connsiteY0" fmla="*/ 2660650 h 2667000"/>
              <a:gd name="connsiteX1" fmla="*/ 255822 w 4675268"/>
              <a:gd name="connsiteY1" fmla="*/ 0 h 2667000"/>
              <a:gd name="connsiteX2" fmla="*/ 4230759 w 4675268"/>
              <a:gd name="connsiteY2" fmla="*/ 0 h 2667000"/>
              <a:gd name="connsiteX3" fmla="*/ 4675268 w 4675268"/>
              <a:gd name="connsiteY3" fmla="*/ 444509 h 2667000"/>
              <a:gd name="connsiteX4" fmla="*/ 4675268 w 4675268"/>
              <a:gd name="connsiteY4" fmla="*/ 2222491 h 2667000"/>
              <a:gd name="connsiteX5" fmla="*/ 4230759 w 4675268"/>
              <a:gd name="connsiteY5" fmla="*/ 2667000 h 2667000"/>
              <a:gd name="connsiteX6" fmla="*/ 284397 w 4675268"/>
              <a:gd name="connsiteY6" fmla="*/ 2660650 h 2667000"/>
              <a:gd name="connsiteX0" fmla="*/ 29930 w 4420801"/>
              <a:gd name="connsiteY0" fmla="*/ 2660650 h 2667000"/>
              <a:gd name="connsiteX1" fmla="*/ 1355 w 4420801"/>
              <a:gd name="connsiteY1" fmla="*/ 0 h 2667000"/>
              <a:gd name="connsiteX2" fmla="*/ 3976292 w 4420801"/>
              <a:gd name="connsiteY2" fmla="*/ 0 h 2667000"/>
              <a:gd name="connsiteX3" fmla="*/ 4420801 w 4420801"/>
              <a:gd name="connsiteY3" fmla="*/ 444509 h 2667000"/>
              <a:gd name="connsiteX4" fmla="*/ 4420801 w 4420801"/>
              <a:gd name="connsiteY4" fmla="*/ 2222491 h 2667000"/>
              <a:gd name="connsiteX5" fmla="*/ 3976292 w 4420801"/>
              <a:gd name="connsiteY5" fmla="*/ 2667000 h 2667000"/>
              <a:gd name="connsiteX6" fmla="*/ 29930 w 4420801"/>
              <a:gd name="connsiteY6" fmla="*/ 2660650 h 2667000"/>
              <a:gd name="connsiteX0" fmla="*/ 18365 w 4421936"/>
              <a:gd name="connsiteY0" fmla="*/ 2679700 h 2679757"/>
              <a:gd name="connsiteX1" fmla="*/ 2490 w 4421936"/>
              <a:gd name="connsiteY1" fmla="*/ 0 h 2679757"/>
              <a:gd name="connsiteX2" fmla="*/ 3977427 w 4421936"/>
              <a:gd name="connsiteY2" fmla="*/ 0 h 2679757"/>
              <a:gd name="connsiteX3" fmla="*/ 4421936 w 4421936"/>
              <a:gd name="connsiteY3" fmla="*/ 444509 h 2679757"/>
              <a:gd name="connsiteX4" fmla="*/ 4421936 w 4421936"/>
              <a:gd name="connsiteY4" fmla="*/ 2222491 h 2679757"/>
              <a:gd name="connsiteX5" fmla="*/ 3977427 w 4421936"/>
              <a:gd name="connsiteY5" fmla="*/ 2667000 h 2679757"/>
              <a:gd name="connsiteX6" fmla="*/ 18365 w 4421936"/>
              <a:gd name="connsiteY6" fmla="*/ 2679700 h 2679757"/>
              <a:gd name="connsiteX0" fmla="*/ 15952 w 4419523"/>
              <a:gd name="connsiteY0" fmla="*/ 2679700 h 2679757"/>
              <a:gd name="connsiteX1" fmla="*/ 77 w 4419523"/>
              <a:gd name="connsiteY1" fmla="*/ 0 h 2679757"/>
              <a:gd name="connsiteX2" fmla="*/ 3975014 w 4419523"/>
              <a:gd name="connsiteY2" fmla="*/ 0 h 2679757"/>
              <a:gd name="connsiteX3" fmla="*/ 4419523 w 4419523"/>
              <a:gd name="connsiteY3" fmla="*/ 444509 h 2679757"/>
              <a:gd name="connsiteX4" fmla="*/ 4419523 w 4419523"/>
              <a:gd name="connsiteY4" fmla="*/ 2222491 h 2679757"/>
              <a:gd name="connsiteX5" fmla="*/ 3975014 w 4419523"/>
              <a:gd name="connsiteY5" fmla="*/ 2667000 h 2679757"/>
              <a:gd name="connsiteX6" fmla="*/ 15952 w 4419523"/>
              <a:gd name="connsiteY6" fmla="*/ 2679700 h 2679757"/>
              <a:gd name="connsiteX0" fmla="*/ 15888 w 4419459"/>
              <a:gd name="connsiteY0" fmla="*/ 2679700 h 2679700"/>
              <a:gd name="connsiteX1" fmla="*/ 13 w 4419459"/>
              <a:gd name="connsiteY1" fmla="*/ 0 h 2679700"/>
              <a:gd name="connsiteX2" fmla="*/ 3974950 w 4419459"/>
              <a:gd name="connsiteY2" fmla="*/ 0 h 2679700"/>
              <a:gd name="connsiteX3" fmla="*/ 4419459 w 4419459"/>
              <a:gd name="connsiteY3" fmla="*/ 444509 h 2679700"/>
              <a:gd name="connsiteX4" fmla="*/ 4419459 w 4419459"/>
              <a:gd name="connsiteY4" fmla="*/ 2222491 h 2679700"/>
              <a:gd name="connsiteX5" fmla="*/ 3974950 w 4419459"/>
              <a:gd name="connsiteY5" fmla="*/ 2667000 h 2679700"/>
              <a:gd name="connsiteX6" fmla="*/ 15888 w 4419459"/>
              <a:gd name="connsiteY6" fmla="*/ 2679700 h 2679700"/>
              <a:gd name="connsiteX0" fmla="*/ 15888 w 4419459"/>
              <a:gd name="connsiteY0" fmla="*/ 2692400 h 2692400"/>
              <a:gd name="connsiteX1" fmla="*/ 13 w 4419459"/>
              <a:gd name="connsiteY1" fmla="*/ 0 h 2692400"/>
              <a:gd name="connsiteX2" fmla="*/ 3974950 w 4419459"/>
              <a:gd name="connsiteY2" fmla="*/ 12700 h 2692400"/>
              <a:gd name="connsiteX3" fmla="*/ 4419459 w 4419459"/>
              <a:gd name="connsiteY3" fmla="*/ 457209 h 2692400"/>
              <a:gd name="connsiteX4" fmla="*/ 4419459 w 4419459"/>
              <a:gd name="connsiteY4" fmla="*/ 2235191 h 2692400"/>
              <a:gd name="connsiteX5" fmla="*/ 3974950 w 4419459"/>
              <a:gd name="connsiteY5" fmla="*/ 2679700 h 2692400"/>
              <a:gd name="connsiteX6" fmla="*/ 15888 w 4419459"/>
              <a:gd name="connsiteY6" fmla="*/ 2692400 h 2692400"/>
              <a:gd name="connsiteX0" fmla="*/ 15888 w 4419459"/>
              <a:gd name="connsiteY0" fmla="*/ 2679700 h 2679700"/>
              <a:gd name="connsiteX1" fmla="*/ 13 w 4419459"/>
              <a:gd name="connsiteY1" fmla="*/ 0 h 2679700"/>
              <a:gd name="connsiteX2" fmla="*/ 3974950 w 4419459"/>
              <a:gd name="connsiteY2" fmla="*/ 0 h 2679700"/>
              <a:gd name="connsiteX3" fmla="*/ 4419459 w 4419459"/>
              <a:gd name="connsiteY3" fmla="*/ 444509 h 2679700"/>
              <a:gd name="connsiteX4" fmla="*/ 4419459 w 4419459"/>
              <a:gd name="connsiteY4" fmla="*/ 2222491 h 2679700"/>
              <a:gd name="connsiteX5" fmla="*/ 3974950 w 4419459"/>
              <a:gd name="connsiteY5" fmla="*/ 2667000 h 2679700"/>
              <a:gd name="connsiteX6" fmla="*/ 15888 w 4419459"/>
              <a:gd name="connsiteY6" fmla="*/ 2679700 h 2679700"/>
              <a:gd name="connsiteX0" fmla="*/ 15888 w 4419459"/>
              <a:gd name="connsiteY0" fmla="*/ 2679700 h 2679700"/>
              <a:gd name="connsiteX1" fmla="*/ 13 w 4419459"/>
              <a:gd name="connsiteY1" fmla="*/ 0 h 2679700"/>
              <a:gd name="connsiteX2" fmla="*/ 3974950 w 4419459"/>
              <a:gd name="connsiteY2" fmla="*/ 0 h 2679700"/>
              <a:gd name="connsiteX3" fmla="*/ 4419459 w 4419459"/>
              <a:gd name="connsiteY3" fmla="*/ 444509 h 2679700"/>
              <a:gd name="connsiteX4" fmla="*/ 3974950 w 4419459"/>
              <a:gd name="connsiteY4" fmla="*/ 2667000 h 2679700"/>
              <a:gd name="connsiteX5" fmla="*/ 15888 w 4419459"/>
              <a:gd name="connsiteY5" fmla="*/ 2679700 h 2679700"/>
              <a:gd name="connsiteX0" fmla="*/ 15888 w 4463900"/>
              <a:gd name="connsiteY0" fmla="*/ 2679700 h 2679700"/>
              <a:gd name="connsiteX1" fmla="*/ 13 w 4463900"/>
              <a:gd name="connsiteY1" fmla="*/ 0 h 2679700"/>
              <a:gd name="connsiteX2" fmla="*/ 3974950 w 4463900"/>
              <a:gd name="connsiteY2" fmla="*/ 0 h 2679700"/>
              <a:gd name="connsiteX3" fmla="*/ 4419459 w 4463900"/>
              <a:gd name="connsiteY3" fmla="*/ 444509 h 2679700"/>
              <a:gd name="connsiteX4" fmla="*/ 4463900 w 4463900"/>
              <a:gd name="connsiteY4" fmla="*/ 2660650 h 2679700"/>
              <a:gd name="connsiteX5" fmla="*/ 15888 w 4463900"/>
              <a:gd name="connsiteY5" fmla="*/ 2679700 h 2679700"/>
              <a:gd name="connsiteX0" fmla="*/ 15888 w 4438500"/>
              <a:gd name="connsiteY0" fmla="*/ 2679700 h 2679700"/>
              <a:gd name="connsiteX1" fmla="*/ 13 w 4438500"/>
              <a:gd name="connsiteY1" fmla="*/ 0 h 2679700"/>
              <a:gd name="connsiteX2" fmla="*/ 3974950 w 4438500"/>
              <a:gd name="connsiteY2" fmla="*/ 0 h 2679700"/>
              <a:gd name="connsiteX3" fmla="*/ 4419459 w 4438500"/>
              <a:gd name="connsiteY3" fmla="*/ 444509 h 2679700"/>
              <a:gd name="connsiteX4" fmla="*/ 4438500 w 4438500"/>
              <a:gd name="connsiteY4" fmla="*/ 2667000 h 2679700"/>
              <a:gd name="connsiteX5" fmla="*/ 15888 w 4438500"/>
              <a:gd name="connsiteY5" fmla="*/ 2679700 h 2679700"/>
              <a:gd name="connsiteX0" fmla="*/ 15888 w 4425800"/>
              <a:gd name="connsiteY0" fmla="*/ 2679700 h 2679700"/>
              <a:gd name="connsiteX1" fmla="*/ 13 w 4425800"/>
              <a:gd name="connsiteY1" fmla="*/ 0 h 2679700"/>
              <a:gd name="connsiteX2" fmla="*/ 3974950 w 4425800"/>
              <a:gd name="connsiteY2" fmla="*/ 0 h 2679700"/>
              <a:gd name="connsiteX3" fmla="*/ 4419459 w 4425800"/>
              <a:gd name="connsiteY3" fmla="*/ 444509 h 2679700"/>
              <a:gd name="connsiteX4" fmla="*/ 4425800 w 4425800"/>
              <a:gd name="connsiteY4" fmla="*/ 2667000 h 2679700"/>
              <a:gd name="connsiteX5" fmla="*/ 15888 w 4425800"/>
              <a:gd name="connsiteY5" fmla="*/ 2679700 h 2679700"/>
              <a:gd name="connsiteX0" fmla="*/ 15888 w 4425800"/>
              <a:gd name="connsiteY0" fmla="*/ 2673350 h 2673350"/>
              <a:gd name="connsiteX1" fmla="*/ 13 w 4425800"/>
              <a:gd name="connsiteY1" fmla="*/ 0 h 2673350"/>
              <a:gd name="connsiteX2" fmla="*/ 3974950 w 4425800"/>
              <a:gd name="connsiteY2" fmla="*/ 0 h 2673350"/>
              <a:gd name="connsiteX3" fmla="*/ 4419459 w 4425800"/>
              <a:gd name="connsiteY3" fmla="*/ 444509 h 2673350"/>
              <a:gd name="connsiteX4" fmla="*/ 4425800 w 4425800"/>
              <a:gd name="connsiteY4" fmla="*/ 2667000 h 2673350"/>
              <a:gd name="connsiteX5" fmla="*/ 15888 w 4425800"/>
              <a:gd name="connsiteY5" fmla="*/ 2673350 h 2673350"/>
              <a:gd name="connsiteX0" fmla="*/ 15888 w 4425800"/>
              <a:gd name="connsiteY0" fmla="*/ 2673350 h 2673350"/>
              <a:gd name="connsiteX1" fmla="*/ 13 w 4425800"/>
              <a:gd name="connsiteY1" fmla="*/ 0 h 2673350"/>
              <a:gd name="connsiteX2" fmla="*/ 3974950 w 4425800"/>
              <a:gd name="connsiteY2" fmla="*/ 0 h 2673350"/>
              <a:gd name="connsiteX3" fmla="*/ 4419459 w 4425800"/>
              <a:gd name="connsiteY3" fmla="*/ 444509 h 2673350"/>
              <a:gd name="connsiteX4" fmla="*/ 4425800 w 4425800"/>
              <a:gd name="connsiteY4" fmla="*/ 2667000 h 2673350"/>
              <a:gd name="connsiteX5" fmla="*/ 15888 w 4425800"/>
              <a:gd name="connsiteY5" fmla="*/ 2673350 h 2673350"/>
              <a:gd name="connsiteX0" fmla="*/ 526 w 4429488"/>
              <a:gd name="connsiteY0" fmla="*/ 2673350 h 2673350"/>
              <a:gd name="connsiteX1" fmla="*/ 3701 w 4429488"/>
              <a:gd name="connsiteY1" fmla="*/ 0 h 2673350"/>
              <a:gd name="connsiteX2" fmla="*/ 3978638 w 4429488"/>
              <a:gd name="connsiteY2" fmla="*/ 0 h 2673350"/>
              <a:gd name="connsiteX3" fmla="*/ 4423147 w 4429488"/>
              <a:gd name="connsiteY3" fmla="*/ 444509 h 2673350"/>
              <a:gd name="connsiteX4" fmla="*/ 4429488 w 4429488"/>
              <a:gd name="connsiteY4" fmla="*/ 2667000 h 2673350"/>
              <a:gd name="connsiteX5" fmla="*/ 526 w 4429488"/>
              <a:gd name="connsiteY5" fmla="*/ 2673350 h 2673350"/>
              <a:gd name="connsiteX0" fmla="*/ 381 w 4431725"/>
              <a:gd name="connsiteY0" fmla="*/ 2666206 h 2667000"/>
              <a:gd name="connsiteX1" fmla="*/ 5938 w 4431725"/>
              <a:gd name="connsiteY1" fmla="*/ 0 h 2667000"/>
              <a:gd name="connsiteX2" fmla="*/ 3980875 w 4431725"/>
              <a:gd name="connsiteY2" fmla="*/ 0 h 2667000"/>
              <a:gd name="connsiteX3" fmla="*/ 4425384 w 4431725"/>
              <a:gd name="connsiteY3" fmla="*/ 444509 h 2667000"/>
              <a:gd name="connsiteX4" fmla="*/ 4431725 w 4431725"/>
              <a:gd name="connsiteY4" fmla="*/ 2667000 h 2667000"/>
              <a:gd name="connsiteX5" fmla="*/ 381 w 4431725"/>
              <a:gd name="connsiteY5" fmla="*/ 2666206 h 266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31725" h="2667000">
                <a:moveTo>
                  <a:pt x="381" y="2666206"/>
                </a:moveTo>
                <a:cubicBezTo>
                  <a:pt x="-1708" y="2310606"/>
                  <a:pt x="5436" y="603250"/>
                  <a:pt x="5938" y="0"/>
                </a:cubicBezTo>
                <a:lnTo>
                  <a:pt x="3980875" y="0"/>
                </a:lnTo>
                <a:cubicBezTo>
                  <a:pt x="4226371" y="0"/>
                  <a:pt x="4425384" y="199013"/>
                  <a:pt x="4425384" y="444509"/>
                </a:cubicBezTo>
                <a:cubicBezTo>
                  <a:pt x="4427498" y="1185339"/>
                  <a:pt x="4429611" y="1926170"/>
                  <a:pt x="4431725" y="2667000"/>
                </a:cubicBezTo>
                <a:lnTo>
                  <a:pt x="381" y="2666206"/>
                </a:lnTo>
                <a:close/>
              </a:path>
            </a:pathLst>
          </a:custGeom>
          <a:noFill/>
          <a:ln w="952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56" name="Rounded Rectangle 555"/>
          <p:cNvSpPr/>
          <p:nvPr/>
        </p:nvSpPr>
        <p:spPr>
          <a:xfrm>
            <a:off x="161466" y="3492511"/>
            <a:ext cx="8812225" cy="3136890"/>
          </a:xfrm>
          <a:custGeom>
            <a:avLst/>
            <a:gdLst>
              <a:gd name="connsiteX0" fmla="*/ 0 w 8800664"/>
              <a:gd name="connsiteY0" fmla="*/ 520710 h 3124200"/>
              <a:gd name="connsiteX1" fmla="*/ 520710 w 8800664"/>
              <a:gd name="connsiteY1" fmla="*/ 0 h 3124200"/>
              <a:gd name="connsiteX2" fmla="*/ 8279954 w 8800664"/>
              <a:gd name="connsiteY2" fmla="*/ 0 h 3124200"/>
              <a:gd name="connsiteX3" fmla="*/ 8800664 w 8800664"/>
              <a:gd name="connsiteY3" fmla="*/ 520710 h 3124200"/>
              <a:gd name="connsiteX4" fmla="*/ 8800664 w 8800664"/>
              <a:gd name="connsiteY4" fmla="*/ 2603490 h 3124200"/>
              <a:gd name="connsiteX5" fmla="*/ 8279954 w 8800664"/>
              <a:gd name="connsiteY5" fmla="*/ 3124200 h 3124200"/>
              <a:gd name="connsiteX6" fmla="*/ 520710 w 8800664"/>
              <a:gd name="connsiteY6" fmla="*/ 3124200 h 3124200"/>
              <a:gd name="connsiteX7" fmla="*/ 0 w 8800664"/>
              <a:gd name="connsiteY7" fmla="*/ 2603490 h 3124200"/>
              <a:gd name="connsiteX8" fmla="*/ 0 w 8800664"/>
              <a:gd name="connsiteY8" fmla="*/ 520710 h 3124200"/>
              <a:gd name="connsiteX0" fmla="*/ 0 w 8800664"/>
              <a:gd name="connsiteY0" fmla="*/ 520710 h 3124200"/>
              <a:gd name="connsiteX1" fmla="*/ 8279954 w 8800664"/>
              <a:gd name="connsiteY1" fmla="*/ 0 h 3124200"/>
              <a:gd name="connsiteX2" fmla="*/ 8800664 w 8800664"/>
              <a:gd name="connsiteY2" fmla="*/ 520710 h 3124200"/>
              <a:gd name="connsiteX3" fmla="*/ 8800664 w 8800664"/>
              <a:gd name="connsiteY3" fmla="*/ 2603490 h 3124200"/>
              <a:gd name="connsiteX4" fmla="*/ 8279954 w 8800664"/>
              <a:gd name="connsiteY4" fmla="*/ 3124200 h 3124200"/>
              <a:gd name="connsiteX5" fmla="*/ 520710 w 8800664"/>
              <a:gd name="connsiteY5" fmla="*/ 3124200 h 3124200"/>
              <a:gd name="connsiteX6" fmla="*/ 0 w 8800664"/>
              <a:gd name="connsiteY6" fmla="*/ 2603490 h 3124200"/>
              <a:gd name="connsiteX7" fmla="*/ 0 w 8800664"/>
              <a:gd name="connsiteY7" fmla="*/ 520710 h 3124200"/>
              <a:gd name="connsiteX0" fmla="*/ 0 w 8800664"/>
              <a:gd name="connsiteY0" fmla="*/ 188427 h 3330080"/>
              <a:gd name="connsiteX1" fmla="*/ 8279954 w 8800664"/>
              <a:gd name="connsiteY1" fmla="*/ 205880 h 3330080"/>
              <a:gd name="connsiteX2" fmla="*/ 8800664 w 8800664"/>
              <a:gd name="connsiteY2" fmla="*/ 726590 h 3330080"/>
              <a:gd name="connsiteX3" fmla="*/ 8800664 w 8800664"/>
              <a:gd name="connsiteY3" fmla="*/ 2809370 h 3330080"/>
              <a:gd name="connsiteX4" fmla="*/ 8279954 w 8800664"/>
              <a:gd name="connsiteY4" fmla="*/ 3330080 h 3330080"/>
              <a:gd name="connsiteX5" fmla="*/ 520710 w 8800664"/>
              <a:gd name="connsiteY5" fmla="*/ 3330080 h 3330080"/>
              <a:gd name="connsiteX6" fmla="*/ 0 w 8800664"/>
              <a:gd name="connsiteY6" fmla="*/ 2809370 h 3330080"/>
              <a:gd name="connsiteX7" fmla="*/ 0 w 8800664"/>
              <a:gd name="connsiteY7" fmla="*/ 188427 h 3330080"/>
              <a:gd name="connsiteX0" fmla="*/ 0 w 8800664"/>
              <a:gd name="connsiteY0" fmla="*/ 0 h 3141653"/>
              <a:gd name="connsiteX1" fmla="*/ 8279954 w 8800664"/>
              <a:gd name="connsiteY1" fmla="*/ 17453 h 3141653"/>
              <a:gd name="connsiteX2" fmla="*/ 8800664 w 8800664"/>
              <a:gd name="connsiteY2" fmla="*/ 538163 h 3141653"/>
              <a:gd name="connsiteX3" fmla="*/ 8800664 w 8800664"/>
              <a:gd name="connsiteY3" fmla="*/ 2620943 h 3141653"/>
              <a:gd name="connsiteX4" fmla="*/ 8279954 w 8800664"/>
              <a:gd name="connsiteY4" fmla="*/ 3141653 h 3141653"/>
              <a:gd name="connsiteX5" fmla="*/ 520710 w 8800664"/>
              <a:gd name="connsiteY5" fmla="*/ 3141653 h 3141653"/>
              <a:gd name="connsiteX6" fmla="*/ 0 w 8800664"/>
              <a:gd name="connsiteY6" fmla="*/ 2620943 h 3141653"/>
              <a:gd name="connsiteX7" fmla="*/ 0 w 8800664"/>
              <a:gd name="connsiteY7" fmla="*/ 0 h 3141653"/>
              <a:gd name="connsiteX0" fmla="*/ 0 w 8800664"/>
              <a:gd name="connsiteY0" fmla="*/ 0 h 3141653"/>
              <a:gd name="connsiteX1" fmla="*/ 8279954 w 8800664"/>
              <a:gd name="connsiteY1" fmla="*/ 17453 h 3141653"/>
              <a:gd name="connsiteX2" fmla="*/ 8800664 w 8800664"/>
              <a:gd name="connsiteY2" fmla="*/ 538163 h 3141653"/>
              <a:gd name="connsiteX3" fmla="*/ 8800664 w 8800664"/>
              <a:gd name="connsiteY3" fmla="*/ 2620943 h 3141653"/>
              <a:gd name="connsiteX4" fmla="*/ 8279954 w 8800664"/>
              <a:gd name="connsiteY4" fmla="*/ 3141653 h 3141653"/>
              <a:gd name="connsiteX5" fmla="*/ 520710 w 8800664"/>
              <a:gd name="connsiteY5" fmla="*/ 3141653 h 3141653"/>
              <a:gd name="connsiteX6" fmla="*/ 0 w 8800664"/>
              <a:gd name="connsiteY6" fmla="*/ 2620943 h 3141653"/>
              <a:gd name="connsiteX7" fmla="*/ 0 w 8800664"/>
              <a:gd name="connsiteY7" fmla="*/ 0 h 3141653"/>
              <a:gd name="connsiteX0" fmla="*/ 4763 w 8800664"/>
              <a:gd name="connsiteY0" fmla="*/ 0 h 3136890"/>
              <a:gd name="connsiteX1" fmla="*/ 8279954 w 8800664"/>
              <a:gd name="connsiteY1" fmla="*/ 12690 h 3136890"/>
              <a:gd name="connsiteX2" fmla="*/ 8800664 w 8800664"/>
              <a:gd name="connsiteY2" fmla="*/ 533400 h 3136890"/>
              <a:gd name="connsiteX3" fmla="*/ 8800664 w 8800664"/>
              <a:gd name="connsiteY3" fmla="*/ 2616180 h 3136890"/>
              <a:gd name="connsiteX4" fmla="*/ 8279954 w 8800664"/>
              <a:gd name="connsiteY4" fmla="*/ 3136890 h 3136890"/>
              <a:gd name="connsiteX5" fmla="*/ 520710 w 8800664"/>
              <a:gd name="connsiteY5" fmla="*/ 3136890 h 3136890"/>
              <a:gd name="connsiteX6" fmla="*/ 0 w 8800664"/>
              <a:gd name="connsiteY6" fmla="*/ 2616180 h 3136890"/>
              <a:gd name="connsiteX7" fmla="*/ 4763 w 8800664"/>
              <a:gd name="connsiteY7" fmla="*/ 0 h 3136890"/>
              <a:gd name="connsiteX0" fmla="*/ 137 w 8810326"/>
              <a:gd name="connsiteY0" fmla="*/ 0 h 3136890"/>
              <a:gd name="connsiteX1" fmla="*/ 8289616 w 8810326"/>
              <a:gd name="connsiteY1" fmla="*/ 12690 h 3136890"/>
              <a:gd name="connsiteX2" fmla="*/ 8810326 w 8810326"/>
              <a:gd name="connsiteY2" fmla="*/ 533400 h 3136890"/>
              <a:gd name="connsiteX3" fmla="*/ 8810326 w 8810326"/>
              <a:gd name="connsiteY3" fmla="*/ 2616180 h 3136890"/>
              <a:gd name="connsiteX4" fmla="*/ 8289616 w 8810326"/>
              <a:gd name="connsiteY4" fmla="*/ 3136890 h 3136890"/>
              <a:gd name="connsiteX5" fmla="*/ 530372 w 8810326"/>
              <a:gd name="connsiteY5" fmla="*/ 3136890 h 3136890"/>
              <a:gd name="connsiteX6" fmla="*/ 9662 w 8810326"/>
              <a:gd name="connsiteY6" fmla="*/ 2616180 h 3136890"/>
              <a:gd name="connsiteX7" fmla="*/ 137 w 8810326"/>
              <a:gd name="connsiteY7" fmla="*/ 0 h 3136890"/>
              <a:gd name="connsiteX0" fmla="*/ 459 w 8801123"/>
              <a:gd name="connsiteY0" fmla="*/ 0 h 3136890"/>
              <a:gd name="connsiteX1" fmla="*/ 8280413 w 8801123"/>
              <a:gd name="connsiteY1" fmla="*/ 12690 h 3136890"/>
              <a:gd name="connsiteX2" fmla="*/ 8801123 w 8801123"/>
              <a:gd name="connsiteY2" fmla="*/ 533400 h 3136890"/>
              <a:gd name="connsiteX3" fmla="*/ 8801123 w 8801123"/>
              <a:gd name="connsiteY3" fmla="*/ 2616180 h 3136890"/>
              <a:gd name="connsiteX4" fmla="*/ 8280413 w 8801123"/>
              <a:gd name="connsiteY4" fmla="*/ 3136890 h 3136890"/>
              <a:gd name="connsiteX5" fmla="*/ 521169 w 8801123"/>
              <a:gd name="connsiteY5" fmla="*/ 3136890 h 3136890"/>
              <a:gd name="connsiteX6" fmla="*/ 459 w 8801123"/>
              <a:gd name="connsiteY6" fmla="*/ 2616180 h 3136890"/>
              <a:gd name="connsiteX7" fmla="*/ 459 w 8801123"/>
              <a:gd name="connsiteY7" fmla="*/ 0 h 3136890"/>
              <a:gd name="connsiteX0" fmla="*/ 459 w 9101335"/>
              <a:gd name="connsiteY0" fmla="*/ 0 h 3136890"/>
              <a:gd name="connsiteX1" fmla="*/ 8280413 w 9101335"/>
              <a:gd name="connsiteY1" fmla="*/ 12690 h 3136890"/>
              <a:gd name="connsiteX2" fmla="*/ 8801123 w 9101335"/>
              <a:gd name="connsiteY2" fmla="*/ 2616180 h 3136890"/>
              <a:gd name="connsiteX3" fmla="*/ 8280413 w 9101335"/>
              <a:gd name="connsiteY3" fmla="*/ 3136890 h 3136890"/>
              <a:gd name="connsiteX4" fmla="*/ 521169 w 9101335"/>
              <a:gd name="connsiteY4" fmla="*/ 3136890 h 3136890"/>
              <a:gd name="connsiteX5" fmla="*/ 459 w 9101335"/>
              <a:gd name="connsiteY5" fmla="*/ 2616180 h 3136890"/>
              <a:gd name="connsiteX6" fmla="*/ 459 w 9101335"/>
              <a:gd name="connsiteY6" fmla="*/ 0 h 3136890"/>
              <a:gd name="connsiteX0" fmla="*/ 459 w 9097568"/>
              <a:gd name="connsiteY0" fmla="*/ 0 h 3136890"/>
              <a:gd name="connsiteX1" fmla="*/ 8274063 w 9097568"/>
              <a:gd name="connsiteY1" fmla="*/ 12690 h 3136890"/>
              <a:gd name="connsiteX2" fmla="*/ 8801123 w 9097568"/>
              <a:gd name="connsiteY2" fmla="*/ 2616180 h 3136890"/>
              <a:gd name="connsiteX3" fmla="*/ 8280413 w 9097568"/>
              <a:gd name="connsiteY3" fmla="*/ 3136890 h 3136890"/>
              <a:gd name="connsiteX4" fmla="*/ 521169 w 9097568"/>
              <a:gd name="connsiteY4" fmla="*/ 3136890 h 3136890"/>
              <a:gd name="connsiteX5" fmla="*/ 459 w 9097568"/>
              <a:gd name="connsiteY5" fmla="*/ 2616180 h 3136890"/>
              <a:gd name="connsiteX6" fmla="*/ 459 w 9097568"/>
              <a:gd name="connsiteY6" fmla="*/ 0 h 3136890"/>
              <a:gd name="connsiteX0" fmla="*/ 459 w 8801123"/>
              <a:gd name="connsiteY0" fmla="*/ 0 h 3136890"/>
              <a:gd name="connsiteX1" fmla="*/ 8274063 w 8801123"/>
              <a:gd name="connsiteY1" fmla="*/ 12690 h 3136890"/>
              <a:gd name="connsiteX2" fmla="*/ 8801123 w 8801123"/>
              <a:gd name="connsiteY2" fmla="*/ 2616180 h 3136890"/>
              <a:gd name="connsiteX3" fmla="*/ 8280413 w 8801123"/>
              <a:gd name="connsiteY3" fmla="*/ 3136890 h 3136890"/>
              <a:gd name="connsiteX4" fmla="*/ 521169 w 8801123"/>
              <a:gd name="connsiteY4" fmla="*/ 3136890 h 3136890"/>
              <a:gd name="connsiteX5" fmla="*/ 459 w 8801123"/>
              <a:gd name="connsiteY5" fmla="*/ 2616180 h 3136890"/>
              <a:gd name="connsiteX6" fmla="*/ 459 w 8801123"/>
              <a:gd name="connsiteY6" fmla="*/ 0 h 3136890"/>
              <a:gd name="connsiteX0" fmla="*/ 459 w 8936376"/>
              <a:gd name="connsiteY0" fmla="*/ 0 h 3136890"/>
              <a:gd name="connsiteX1" fmla="*/ 8812225 w 8936376"/>
              <a:gd name="connsiteY1" fmla="*/ 10308 h 3136890"/>
              <a:gd name="connsiteX2" fmla="*/ 8801123 w 8936376"/>
              <a:gd name="connsiteY2" fmla="*/ 2616180 h 3136890"/>
              <a:gd name="connsiteX3" fmla="*/ 8280413 w 8936376"/>
              <a:gd name="connsiteY3" fmla="*/ 3136890 h 3136890"/>
              <a:gd name="connsiteX4" fmla="*/ 521169 w 8936376"/>
              <a:gd name="connsiteY4" fmla="*/ 3136890 h 3136890"/>
              <a:gd name="connsiteX5" fmla="*/ 459 w 8936376"/>
              <a:gd name="connsiteY5" fmla="*/ 2616180 h 3136890"/>
              <a:gd name="connsiteX6" fmla="*/ 459 w 8936376"/>
              <a:gd name="connsiteY6" fmla="*/ 0 h 3136890"/>
              <a:gd name="connsiteX0" fmla="*/ 459 w 8812225"/>
              <a:gd name="connsiteY0" fmla="*/ 0 h 3136890"/>
              <a:gd name="connsiteX1" fmla="*/ 8812225 w 8812225"/>
              <a:gd name="connsiteY1" fmla="*/ 10308 h 3136890"/>
              <a:gd name="connsiteX2" fmla="*/ 8801123 w 8812225"/>
              <a:gd name="connsiteY2" fmla="*/ 2616180 h 3136890"/>
              <a:gd name="connsiteX3" fmla="*/ 8280413 w 8812225"/>
              <a:gd name="connsiteY3" fmla="*/ 3136890 h 3136890"/>
              <a:gd name="connsiteX4" fmla="*/ 521169 w 8812225"/>
              <a:gd name="connsiteY4" fmla="*/ 3136890 h 3136890"/>
              <a:gd name="connsiteX5" fmla="*/ 459 w 8812225"/>
              <a:gd name="connsiteY5" fmla="*/ 2616180 h 3136890"/>
              <a:gd name="connsiteX6" fmla="*/ 459 w 8812225"/>
              <a:gd name="connsiteY6" fmla="*/ 0 h 3136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12225" h="3136890">
                <a:moveTo>
                  <a:pt x="459" y="0"/>
                </a:moveTo>
                <a:lnTo>
                  <a:pt x="8812225" y="10308"/>
                </a:lnTo>
                <a:cubicBezTo>
                  <a:pt x="8802627" y="1241676"/>
                  <a:pt x="8801123" y="2095480"/>
                  <a:pt x="8801123" y="2616180"/>
                </a:cubicBezTo>
                <a:cubicBezTo>
                  <a:pt x="8801123" y="2903760"/>
                  <a:pt x="8567993" y="3136890"/>
                  <a:pt x="8280413" y="3136890"/>
                </a:cubicBezTo>
                <a:lnTo>
                  <a:pt x="521169" y="3136890"/>
                </a:lnTo>
                <a:cubicBezTo>
                  <a:pt x="233589" y="3136890"/>
                  <a:pt x="459" y="2903760"/>
                  <a:pt x="459" y="2616180"/>
                </a:cubicBezTo>
                <a:cubicBezTo>
                  <a:pt x="2047" y="1744120"/>
                  <a:pt x="-1129" y="872060"/>
                  <a:pt x="459" y="0"/>
                </a:cubicBezTo>
                <a:close/>
              </a:path>
            </a:pathLst>
          </a:custGeom>
          <a:noFill/>
          <a:ln w="952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8281034" y="2124074"/>
            <a:ext cx="558166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Spar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5364088" y="4677387"/>
            <a:ext cx="820027" cy="310627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noProof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F</a:t>
            </a:r>
            <a:r>
              <a:rPr lang="en-US" sz="1200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ix Journey Produc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6238875" y="4662948"/>
            <a:ext cx="640080" cy="301752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Transi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Spar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7170574" y="5211277"/>
            <a:ext cx="902363" cy="2286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lvl="0" algn="ctr"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Merchant 1</a:t>
            </a:r>
            <a:endParaRPr lang="en-US" sz="1200" kern="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120" name="Elbow Connector 119"/>
          <p:cNvCxnSpPr>
            <a:endCxn id="119" idx="1"/>
          </p:cNvCxnSpPr>
          <p:nvPr/>
        </p:nvCxnSpPr>
        <p:spPr>
          <a:xfrm rot="16200000" flipH="1">
            <a:off x="6954112" y="5109115"/>
            <a:ext cx="349220" cy="83704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23" name="Rectangle 122"/>
          <p:cNvSpPr/>
          <p:nvPr/>
        </p:nvSpPr>
        <p:spPr>
          <a:xfrm>
            <a:off x="7171032" y="5513674"/>
            <a:ext cx="902363" cy="2286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lvl="0" algn="ctr"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Merchant 2</a:t>
            </a:r>
            <a:endParaRPr lang="en-US" sz="1200" kern="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7174837" y="6081252"/>
            <a:ext cx="902363" cy="2286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lvl="0" algn="ctr"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Merchant 12</a:t>
            </a:r>
            <a:endParaRPr lang="en-US" sz="1200" kern="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10186" y="5724090"/>
            <a:ext cx="21512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l</a:t>
            </a:r>
          </a:p>
          <a:p>
            <a:r>
              <a:rPr lang="en-US" sz="12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l</a:t>
            </a:r>
          </a:p>
          <a:p>
            <a:r>
              <a:rPr lang="en-US" sz="12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l</a:t>
            </a:r>
          </a:p>
          <a:p>
            <a:r>
              <a:rPr lang="en-US" sz="12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l</a:t>
            </a:r>
          </a:p>
        </p:txBody>
      </p:sp>
      <p:cxnSp>
        <p:nvCxnSpPr>
          <p:cNvPr id="129" name="Elbow Connector 128"/>
          <p:cNvCxnSpPr>
            <a:endCxn id="123" idx="1"/>
          </p:cNvCxnSpPr>
          <p:nvPr/>
        </p:nvCxnSpPr>
        <p:spPr>
          <a:xfrm rot="16200000" flipH="1">
            <a:off x="6803142" y="5260083"/>
            <a:ext cx="651619" cy="84161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481" name="Straight Connector 480"/>
          <p:cNvCxnSpPr/>
          <p:nvPr/>
        </p:nvCxnSpPr>
        <p:spPr>
          <a:xfrm>
            <a:off x="7086870" y="5627974"/>
            <a:ext cx="0" cy="377064"/>
          </a:xfrm>
          <a:prstGeom prst="line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dash"/>
          </a:ln>
          <a:effectLst/>
        </p:spPr>
      </p:cxnSp>
      <p:cxnSp>
        <p:nvCxnSpPr>
          <p:cNvPr id="134" name="Elbow Connector 133"/>
          <p:cNvCxnSpPr>
            <a:endCxn id="124" idx="1"/>
          </p:cNvCxnSpPr>
          <p:nvPr/>
        </p:nvCxnSpPr>
        <p:spPr>
          <a:xfrm rot="16200000" flipH="1">
            <a:off x="7035598" y="6056312"/>
            <a:ext cx="190513" cy="87966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07" name="Rectangle 106"/>
          <p:cNvSpPr/>
          <p:nvPr/>
        </p:nvSpPr>
        <p:spPr>
          <a:xfrm>
            <a:off x="5736598" y="5203075"/>
            <a:ext cx="548640" cy="2286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Rail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5736598" y="5492180"/>
            <a:ext cx="548640" cy="228600"/>
          </a:xfrm>
          <a:prstGeom prst="rect">
            <a:avLst/>
          </a:prstGeom>
          <a:gradFill rotWithShape="1">
            <a:gsLst>
              <a:gs pos="0">
                <a:srgbClr val="31B6FD">
                  <a:tint val="50000"/>
                  <a:satMod val="300000"/>
                </a:srgbClr>
              </a:gs>
              <a:gs pos="35000">
                <a:srgbClr val="31B6FD">
                  <a:tint val="37000"/>
                  <a:satMod val="300000"/>
                </a:srgbClr>
              </a:gs>
              <a:gs pos="100000">
                <a:srgbClr val="31B6F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rPr>
              <a:t>Bu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109" name="Elbow Connector 108"/>
          <p:cNvCxnSpPr>
            <a:endCxn id="107" idx="1"/>
          </p:cNvCxnSpPr>
          <p:nvPr/>
        </p:nvCxnSpPr>
        <p:spPr>
          <a:xfrm rot="16200000" flipH="1">
            <a:off x="5515040" y="5095817"/>
            <a:ext cx="345322" cy="97794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10" name="Elbow Connector 109"/>
          <p:cNvCxnSpPr>
            <a:endCxn id="108" idx="1"/>
          </p:cNvCxnSpPr>
          <p:nvPr/>
        </p:nvCxnSpPr>
        <p:spPr>
          <a:xfrm rot="16200000" flipH="1">
            <a:off x="5370485" y="5240366"/>
            <a:ext cx="634429" cy="97798"/>
          </a:xfrm>
          <a:prstGeom prst="bentConnector2">
            <a:avLst/>
          </a:prstGeom>
          <a:noFill/>
          <a:ln w="9525" cap="flat" cmpd="sng" algn="ctr">
            <a:solidFill>
              <a:srgbClr val="31B6F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6" name="Straight Connector 5"/>
          <p:cNvCxnSpPr>
            <a:stCxn id="117" idx="0"/>
          </p:cNvCxnSpPr>
          <p:nvPr/>
        </p:nvCxnSpPr>
        <p:spPr bwMode="auto">
          <a:xfrm flipH="1" flipV="1">
            <a:off x="5774101" y="4400770"/>
            <a:ext cx="1" cy="27661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892012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0401709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18"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0" name="Picture 241"/>
                      <p:cNvPicPr>
                        <a:picLocks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th-TH" sz="2400" dirty="0">
                <a:latin typeface="Cordia New" pitchFamily="34" charset="-34"/>
                <a:cs typeface="Cordia New" pitchFamily="34" charset="-34"/>
              </a:rPr>
              <a:t>วัตถุประสงค์</a:t>
            </a:r>
            <a:r>
              <a:rPr lang="th-TH" sz="2400" dirty="0" smtClean="0">
                <a:latin typeface="Cordia New" pitchFamily="34" charset="-34"/>
                <a:cs typeface="Cordia New" pitchFamily="34" charset="-34"/>
              </a:rPr>
              <a:t>ของระบบตั๋วร่วม</a:t>
            </a:r>
            <a:endParaRPr lang="th-TH" sz="2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884426" y="6345368"/>
            <a:ext cx="1884485" cy="396000"/>
          </a:xfrm>
        </p:spPr>
        <p:txBody>
          <a:bodyPr/>
          <a:lstStyle/>
          <a:p>
            <a:pPr>
              <a:defRPr/>
            </a:pPr>
            <a:fld id="{B94437B2-E4A0-408A-A685-4D4BA5E18955}" type="slidenum">
              <a:rPr lang="en-US" smtClean="0"/>
              <a:pPr>
                <a:defRPr/>
              </a:pPr>
              <a:t>2</a:t>
            </a:fld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3418582" y="6438900"/>
            <a:ext cx="3256977" cy="302468"/>
          </a:xfrm>
        </p:spPr>
        <p:txBody>
          <a:bodyPr/>
          <a:lstStyle/>
          <a:p>
            <a:endParaRPr lang="th-TH" dirty="0"/>
          </a:p>
        </p:txBody>
      </p:sp>
      <p:pic>
        <p:nvPicPr>
          <p:cNvPr id="30" name="Picture 29"/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97" t="-337" r="16275" b="337"/>
          <a:stretch/>
        </p:blipFill>
        <p:spPr>
          <a:xfrm>
            <a:off x="5940423" y="4473222"/>
            <a:ext cx="731524" cy="651400"/>
          </a:xfrm>
          <a:prstGeom prst="ellipse">
            <a:avLst/>
          </a:prstGeom>
          <a:effectLst>
            <a:softEdge rad="31750"/>
          </a:effectLst>
        </p:spPr>
      </p:pic>
      <p:sp>
        <p:nvSpPr>
          <p:cNvPr id="32" name="Oval 31"/>
          <p:cNvSpPr/>
          <p:nvPr>
            <p:custDataLst>
              <p:tags r:id="rId7"/>
            </p:custDataLst>
          </p:nvPr>
        </p:nvSpPr>
        <p:spPr bwMode="auto">
          <a:xfrm>
            <a:off x="3487137" y="2938783"/>
            <a:ext cx="2149104" cy="2110068"/>
          </a:xfrm>
          <a:prstGeom prst="ellips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endParaRPr lang="th-TH" sz="1200" b="1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grpSp>
        <p:nvGrpSpPr>
          <p:cNvPr id="35" name="Group 34"/>
          <p:cNvGrpSpPr/>
          <p:nvPr>
            <p:custDataLst>
              <p:tags r:id="rId8"/>
            </p:custDataLst>
          </p:nvPr>
        </p:nvGrpSpPr>
        <p:grpSpPr>
          <a:xfrm>
            <a:off x="4125664" y="3648722"/>
            <a:ext cx="966957" cy="630840"/>
            <a:chOff x="5875526" y="2598368"/>
            <a:chExt cx="892969" cy="562190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37" name="Oval 36"/>
            <p:cNvSpPr/>
            <p:nvPr>
              <p:custDataLst>
                <p:tags r:id="rId29"/>
              </p:custDataLst>
            </p:nvPr>
          </p:nvSpPr>
          <p:spPr bwMode="auto">
            <a:xfrm>
              <a:off x="6508052" y="2602203"/>
              <a:ext cx="260443" cy="26044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rtlCol="0" anchor="ctr"/>
            <a:lstStyle/>
            <a:p>
              <a:pPr marL="285750" indent="-285750" algn="ctr">
                <a:buFont typeface="Arial" pitchFamily="34" charset="0"/>
                <a:buChar char="•"/>
              </a:pPr>
              <a:endPara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endParaRPr>
            </a:p>
          </p:txBody>
        </p:sp>
        <p:sp>
          <p:nvSpPr>
            <p:cNvPr id="39" name="Oval 38"/>
            <p:cNvSpPr/>
            <p:nvPr>
              <p:custDataLst>
                <p:tags r:id="rId30"/>
              </p:custDataLst>
            </p:nvPr>
          </p:nvSpPr>
          <p:spPr bwMode="auto">
            <a:xfrm>
              <a:off x="6508052" y="2900116"/>
              <a:ext cx="260443" cy="26044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rtlCol="0" anchor="ctr"/>
            <a:lstStyle/>
            <a:p>
              <a:pPr marL="285750" indent="-285750" algn="ctr">
                <a:buFont typeface="Arial" pitchFamily="34" charset="0"/>
                <a:buChar char="•"/>
              </a:pPr>
              <a:endPara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endParaRPr>
            </a:p>
          </p:txBody>
        </p:sp>
        <p:pic>
          <p:nvPicPr>
            <p:cNvPr id="51" name="Picture 6"/>
            <p:cNvPicPr>
              <a:picLocks noChangeAspect="1" noChangeArrowheads="1"/>
            </p:cNvPicPr>
            <p:nvPr>
              <p:custDataLst>
                <p:tags r:id="rId31"/>
              </p:custDataLst>
            </p:nvPr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5526" y="2598368"/>
              <a:ext cx="829952" cy="558281"/>
            </a:xfrm>
            <a:prstGeom prst="roundRect">
              <a:avLst/>
            </a:prstGeom>
            <a:gradFill flip="none" rotWithShape="1">
              <a:gsLst>
                <a:gs pos="0">
                  <a:schemeClr val="accent2">
                    <a:lumMod val="40000"/>
                    <a:lumOff val="60000"/>
                    <a:shade val="30000"/>
                    <a:satMod val="115000"/>
                  </a:schemeClr>
                </a:gs>
                <a:gs pos="50000">
                  <a:schemeClr val="accent2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accent2">
                    <a:lumMod val="40000"/>
                    <a:lumOff val="6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pic>
        <p:sp>
          <p:nvSpPr>
            <p:cNvPr id="52" name="Rectangle 51"/>
            <p:cNvSpPr/>
            <p:nvPr>
              <p:custDataLst>
                <p:tags r:id="rId32"/>
              </p:custDataLst>
            </p:nvPr>
          </p:nvSpPr>
          <p:spPr bwMode="auto">
            <a:xfrm>
              <a:off x="5889104" y="2627955"/>
              <a:ext cx="298761" cy="16385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00" i="1" dirty="0" smtClean="0">
                  <a:solidFill>
                    <a:prstClr val="white"/>
                  </a:solidFill>
                  <a:latin typeface="Cordia New" pitchFamily="34" charset="-34"/>
                  <a:cs typeface="Cordia New" pitchFamily="34" charset="-34"/>
                </a:rPr>
                <a:t>NC</a:t>
              </a:r>
              <a:endParaRPr lang="th-TH" sz="1800" i="1" dirty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endParaRPr>
            </a:p>
          </p:txBody>
        </p:sp>
      </p:grpSp>
      <p:sp>
        <p:nvSpPr>
          <p:cNvPr id="53" name="TextBox 52"/>
          <p:cNvSpPr txBox="1"/>
          <p:nvPr>
            <p:custDataLst>
              <p:tags r:id="rId9"/>
            </p:custDataLst>
          </p:nvPr>
        </p:nvSpPr>
        <p:spPr>
          <a:xfrm>
            <a:off x="2576754" y="1100262"/>
            <a:ext cx="4372249" cy="39167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1300" i="1" dirty="0" smtClean="0">
                <a:solidFill>
                  <a:schemeClr val="accent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th-TH" sz="1300" i="1" dirty="0" smtClean="0">
                <a:solidFill>
                  <a:schemeClr val="accent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เพิ่มความสะดวกสบายในการเดินทาง โดยไม่ต้องพกตั๋วหลายใบ</a:t>
            </a:r>
            <a:r>
              <a:rPr lang="en-US" sz="1300" i="1" dirty="0" smtClean="0">
                <a:solidFill>
                  <a:schemeClr val="accent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”</a:t>
            </a:r>
            <a:endParaRPr lang="th-TH" sz="1300" i="1" dirty="0" smtClean="0">
              <a:solidFill>
                <a:schemeClr val="accent2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4" name="TextBox 53"/>
          <p:cNvSpPr txBox="1"/>
          <p:nvPr>
            <p:custDataLst>
              <p:tags r:id="rId10"/>
            </p:custDataLst>
          </p:nvPr>
        </p:nvSpPr>
        <p:spPr>
          <a:xfrm>
            <a:off x="2576754" y="1391174"/>
            <a:ext cx="4372249" cy="39167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en-US" sz="1300" i="1" dirty="0" smtClean="0">
                <a:solidFill>
                  <a:schemeClr val="accent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th-TH" sz="1300" i="1" dirty="0" smtClean="0">
                <a:solidFill>
                  <a:schemeClr val="accent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ได้รับส่วนลดค่าโดยสารในการใช้บริการแต่ละครั้ง</a:t>
            </a:r>
            <a:r>
              <a:rPr lang="en-US" sz="1300" i="1" dirty="0" smtClean="0">
                <a:solidFill>
                  <a:schemeClr val="accent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”</a:t>
            </a:r>
            <a:endParaRPr lang="th-TH" sz="1300" i="1" dirty="0" smtClean="0">
              <a:solidFill>
                <a:schemeClr val="accent2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5" name="TextBox 54"/>
          <p:cNvSpPr txBox="1"/>
          <p:nvPr>
            <p:custDataLst>
              <p:tags r:id="rId11"/>
            </p:custDataLst>
          </p:nvPr>
        </p:nvSpPr>
        <p:spPr>
          <a:xfrm>
            <a:off x="6671947" y="4663938"/>
            <a:ext cx="2659550" cy="4680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300" i="1" dirty="0" smtClean="0">
                <a:solidFill>
                  <a:srgbClr val="003217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th-TH" sz="1300" i="1" dirty="0" smtClean="0">
                <a:solidFill>
                  <a:srgbClr val="003217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ลดต้นทุนพัฒนาระบบตั๋วร่วมของผู้ประกอบการแต่ละราย</a:t>
            </a:r>
            <a:r>
              <a:rPr lang="en-US" sz="1300" i="1" dirty="0" smtClean="0">
                <a:solidFill>
                  <a:srgbClr val="003217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”</a:t>
            </a:r>
            <a:endParaRPr lang="th-TH" sz="1300" i="1" dirty="0" smtClean="0">
              <a:solidFill>
                <a:srgbClr val="003217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6" name="TextBox 55"/>
          <p:cNvSpPr txBox="1"/>
          <p:nvPr>
            <p:custDataLst>
              <p:tags r:id="rId12"/>
            </p:custDataLst>
          </p:nvPr>
        </p:nvSpPr>
        <p:spPr>
          <a:xfrm>
            <a:off x="6331078" y="5360430"/>
            <a:ext cx="2663756" cy="68534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300" i="1" dirty="0" smtClean="0">
                <a:solidFill>
                  <a:srgbClr val="003217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th-TH" sz="1300" i="1" dirty="0" smtClean="0">
                <a:solidFill>
                  <a:srgbClr val="003217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สามารถจัดการระบบจัดเก็บรายได้ได้อย่างมีประสิทธิภาพและมีส่วนช่วยป้องกันความเสี่ยงจากการทุจริต</a:t>
            </a:r>
            <a:r>
              <a:rPr lang="en-US" sz="1300" i="1" dirty="0" smtClean="0">
                <a:solidFill>
                  <a:srgbClr val="003217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”</a:t>
            </a:r>
            <a:endParaRPr lang="th-TH" sz="1300" i="1" dirty="0" smtClean="0">
              <a:solidFill>
                <a:srgbClr val="003217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TextBox 56"/>
          <p:cNvSpPr txBox="1"/>
          <p:nvPr>
            <p:custDataLst>
              <p:tags r:id="rId13"/>
            </p:custDataLst>
          </p:nvPr>
        </p:nvSpPr>
        <p:spPr>
          <a:xfrm>
            <a:off x="-278908" y="4591210"/>
            <a:ext cx="2414849" cy="68081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300" i="1" dirty="0" smtClean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th-TH" sz="1300" i="1" dirty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ภาครัฐมีความยืดหยุ่น </a:t>
            </a:r>
            <a:r>
              <a:rPr lang="th-TH" sz="1300" i="1" dirty="0" smtClean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ในการควบคุมอัตราค่าโดยสารร่วม</a:t>
            </a:r>
            <a:r>
              <a:rPr lang="en-US" sz="1300" i="1" dirty="0" smtClean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”</a:t>
            </a:r>
            <a:endParaRPr lang="th-TH" sz="1300" i="1" dirty="0" smtClean="0">
              <a:solidFill>
                <a:schemeClr val="accent5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8" name="Picture 18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15" t="-2785" r="25207" b="2785"/>
          <a:stretch/>
        </p:blipFill>
        <p:spPr bwMode="auto">
          <a:xfrm>
            <a:off x="3124811" y="1769990"/>
            <a:ext cx="790438" cy="746628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4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57" t="-168" r="23086" b="168"/>
          <a:stretch/>
        </p:blipFill>
        <p:spPr bwMode="auto">
          <a:xfrm>
            <a:off x="4154963" y="1791647"/>
            <a:ext cx="718522" cy="703317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Oval 59"/>
          <p:cNvSpPr/>
          <p:nvPr>
            <p:custDataLst>
              <p:tags r:id="rId16"/>
            </p:custDataLst>
          </p:nvPr>
        </p:nvSpPr>
        <p:spPr bwMode="auto">
          <a:xfrm>
            <a:off x="4051421" y="2564904"/>
            <a:ext cx="1003008" cy="984361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rIns="0" rtlCol="0" anchor="ctr"/>
          <a:lstStyle/>
          <a:p>
            <a:pPr algn="ctr"/>
            <a:r>
              <a:rPr lang="th-TH" sz="16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ผู้โดยสาร</a:t>
            </a:r>
          </a:p>
        </p:txBody>
      </p:sp>
      <p:pic>
        <p:nvPicPr>
          <p:cNvPr id="61" name="Picture 19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 rotWithShape="1"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26" t="-4215" r="35079" b="4215"/>
          <a:stretch/>
        </p:blipFill>
        <p:spPr bwMode="auto">
          <a:xfrm>
            <a:off x="5050117" y="1780944"/>
            <a:ext cx="797580" cy="746628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6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2" t="-249" r="25764" b="9540"/>
          <a:stretch/>
        </p:blipFill>
        <p:spPr bwMode="auto">
          <a:xfrm>
            <a:off x="5851670" y="3749330"/>
            <a:ext cx="670413" cy="645945"/>
          </a:xfrm>
          <a:prstGeom prst="ellipse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7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 rotWithShape="1"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3" t="-8336" r="32954" b="-1"/>
          <a:stretch/>
        </p:blipFill>
        <p:spPr bwMode="auto">
          <a:xfrm>
            <a:off x="4824610" y="5373598"/>
            <a:ext cx="731726" cy="685427"/>
          </a:xfrm>
          <a:prstGeom prst="ellipse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TextBox 63"/>
          <p:cNvSpPr txBox="1"/>
          <p:nvPr>
            <p:custDataLst>
              <p:tags r:id="rId20"/>
            </p:custDataLst>
          </p:nvPr>
        </p:nvSpPr>
        <p:spPr>
          <a:xfrm>
            <a:off x="6573238" y="3879356"/>
            <a:ext cx="2421596" cy="5663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300" i="1" dirty="0" smtClean="0">
                <a:solidFill>
                  <a:srgbClr val="003217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th-TH" sz="1300" i="1" dirty="0">
                <a:solidFill>
                  <a:srgbClr val="003217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ความสะดวกจากระบบตั๋ว</a:t>
            </a:r>
            <a:r>
              <a:rPr lang="th-TH" sz="1300" i="1" dirty="0" smtClean="0">
                <a:solidFill>
                  <a:srgbClr val="003217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ร่วมมี</a:t>
            </a:r>
            <a:r>
              <a:rPr lang="th-TH" sz="1300" i="1" dirty="0">
                <a:solidFill>
                  <a:srgbClr val="003217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ส่วนเพิ่มจำนวน</a:t>
            </a:r>
            <a:r>
              <a:rPr lang="th-TH" sz="1300" i="1" dirty="0" smtClean="0">
                <a:solidFill>
                  <a:srgbClr val="003217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ผู้โดยสาร</a:t>
            </a:r>
            <a:r>
              <a:rPr lang="en-US" sz="1300" i="1" dirty="0" smtClean="0">
                <a:solidFill>
                  <a:srgbClr val="003217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”</a:t>
            </a:r>
            <a:endParaRPr lang="th-TH" sz="1300" i="1" dirty="0" smtClean="0">
              <a:solidFill>
                <a:srgbClr val="003217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21"/>
            </p:custDataLst>
          </p:nvPr>
        </p:nvSpPr>
        <p:spPr>
          <a:xfrm>
            <a:off x="500290" y="3879356"/>
            <a:ext cx="1975475" cy="5663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300" i="1" dirty="0" smtClean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th-TH" sz="1300" i="1" dirty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จูงใจให้ประชาชน เข้ามาใช้ระบบขนส่ง</a:t>
            </a:r>
            <a:r>
              <a:rPr lang="th-TH" sz="1300" i="1" dirty="0" smtClean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มวลชน</a:t>
            </a:r>
            <a:r>
              <a:rPr lang="en-US" sz="1300" i="1" dirty="0" smtClean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”</a:t>
            </a:r>
            <a:endParaRPr lang="th-TH" sz="1300" i="1" dirty="0" smtClean="0">
              <a:solidFill>
                <a:schemeClr val="accent5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22"/>
            </p:custDataLst>
          </p:nvPr>
        </p:nvSpPr>
        <p:spPr>
          <a:xfrm>
            <a:off x="190345" y="5479373"/>
            <a:ext cx="2585148" cy="5663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300" i="1" dirty="0" smtClean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th-TH" sz="1300" i="1" dirty="0" smtClean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สามารถรวบรวม</a:t>
            </a:r>
            <a:r>
              <a:rPr lang="th-TH" sz="1300" i="1" dirty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ข้อมูลการจราจร </a:t>
            </a:r>
            <a:r>
              <a:rPr lang="th-TH" sz="1300" i="1" dirty="0" smtClean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เพื่อการวางแผนพัฒนา</a:t>
            </a:r>
          </a:p>
          <a:p>
            <a:pPr algn="r"/>
            <a:r>
              <a:rPr lang="th-TH" sz="1300" i="1" dirty="0" smtClean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ระบบขนส่ง</a:t>
            </a:r>
            <a:r>
              <a:rPr lang="en-US" sz="1300" i="1" dirty="0" smtClean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”</a:t>
            </a:r>
            <a:endParaRPr lang="th-TH" sz="1300" i="1" dirty="0">
              <a:solidFill>
                <a:schemeClr val="accent5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67" name="Picture 66"/>
          <p:cNvPicPr>
            <a:picLocks noChangeAspect="1"/>
          </p:cNvPicPr>
          <p:nvPr>
            <p:custDataLst>
              <p:tags r:id="rId23"/>
            </p:custDataLst>
          </p:nvPr>
        </p:nvPicPr>
        <p:blipFill rotWithShape="1"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3" t="14915" r="11320" b="15865"/>
          <a:stretch/>
        </p:blipFill>
        <p:spPr>
          <a:xfrm>
            <a:off x="2115375" y="4604782"/>
            <a:ext cx="959845" cy="473077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>
            <p:custDataLst>
              <p:tags r:id="rId24"/>
            </p:custDataLst>
          </p:nvPr>
        </p:nvPicPr>
        <p:blipFill rotWithShape="1">
          <a:blip r:embed="rId44" cstate="print">
            <a:extLst>
              <a:ext uri="{BEBA8EAE-BF5A-486C-A8C5-ECC9F3942E4B}">
                <a14:imgProps xmlns:a14="http://schemas.microsoft.com/office/drawing/2010/main">
                  <a14:imgLayer r:embed="rId4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301" r="13429"/>
          <a:stretch/>
        </p:blipFill>
        <p:spPr>
          <a:xfrm>
            <a:off x="2522723" y="3866665"/>
            <a:ext cx="615441" cy="579088"/>
          </a:xfrm>
          <a:prstGeom prst="rect">
            <a:avLst/>
          </a:prstGeom>
        </p:spPr>
      </p:pic>
      <p:pic>
        <p:nvPicPr>
          <p:cNvPr id="69" name="Picture 14" descr="http://bitstop.ph/images/bitstop_ph/52/r_Image384.jpg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 rotWithShape="1"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1" t="435" r="17784" b="-435"/>
          <a:stretch/>
        </p:blipFill>
        <p:spPr bwMode="auto">
          <a:xfrm>
            <a:off x="2839610" y="5191316"/>
            <a:ext cx="796330" cy="742760"/>
          </a:xfrm>
          <a:prstGeom prst="ellipse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Oval 69"/>
          <p:cNvSpPr/>
          <p:nvPr>
            <p:custDataLst>
              <p:tags r:id="rId26"/>
            </p:custDataLst>
          </p:nvPr>
        </p:nvSpPr>
        <p:spPr bwMode="auto">
          <a:xfrm>
            <a:off x="3065372" y="4159531"/>
            <a:ext cx="1002572" cy="984361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th-TH" sz="16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ภาครัฐ</a:t>
            </a:r>
          </a:p>
        </p:txBody>
      </p:sp>
      <p:pic>
        <p:nvPicPr>
          <p:cNvPr id="71" name="Picture 9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 rotWithShape="1"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21" t="5373" r="5864" b="2001"/>
          <a:stretch/>
        </p:blipFill>
        <p:spPr bwMode="auto">
          <a:xfrm>
            <a:off x="5586597" y="5136216"/>
            <a:ext cx="798702" cy="774346"/>
          </a:xfrm>
          <a:prstGeom prst="ellipse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Oval 71"/>
          <p:cNvSpPr/>
          <p:nvPr>
            <p:custDataLst>
              <p:tags r:id="rId28"/>
            </p:custDataLst>
          </p:nvPr>
        </p:nvSpPr>
        <p:spPr bwMode="auto">
          <a:xfrm>
            <a:off x="4932040" y="4152644"/>
            <a:ext cx="1002572" cy="985026"/>
          </a:xfrm>
          <a:prstGeom prst="ellipse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th-TH" sz="16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ผู้ให้บริการ</a:t>
            </a:r>
          </a:p>
        </p:txBody>
      </p:sp>
    </p:spTree>
    <p:extLst>
      <p:ext uri="{BB962C8B-B14F-4D97-AF65-F5344CB8AC3E}">
        <p14:creationId xmlns:p14="http://schemas.microsoft.com/office/powerpoint/2010/main" val="2068975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7" name="Object 16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95042" y="404664"/>
            <a:ext cx="7749366" cy="50405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th-TH" sz="2400" dirty="0">
                <a:latin typeface="Cordia New" pitchFamily="34" charset="-34"/>
                <a:cs typeface="Cordia New" pitchFamily="34" charset="-34"/>
              </a:rPr>
              <a:t>แนวทางการปรับปรุงระบบ </a:t>
            </a:r>
            <a:r>
              <a:rPr lang="en-US" sz="2400" dirty="0">
                <a:latin typeface="Cordia New" pitchFamily="34" charset="-34"/>
                <a:cs typeface="Cordia New" pitchFamily="34" charset="-34"/>
              </a:rPr>
              <a:t>Front-end – </a:t>
            </a:r>
            <a:r>
              <a:rPr lang="th-TH" sz="2400" dirty="0">
                <a:latin typeface="Cordia New" pitchFamily="34" charset="-34"/>
                <a:cs typeface="Cordia New" pitchFamily="34" charset="-34"/>
              </a:rPr>
              <a:t>ระบบรถไฟฟ้า (</a:t>
            </a:r>
            <a:r>
              <a:rPr lang="en-US" sz="2400" dirty="0">
                <a:latin typeface="Cordia New" pitchFamily="34" charset="-34"/>
                <a:cs typeface="Cordia New" pitchFamily="34" charset="-34"/>
              </a:rPr>
              <a:t>F/E Modification - Rail</a:t>
            </a:r>
            <a:r>
              <a:rPr lang="th-TH" sz="2400" dirty="0">
                <a:latin typeface="Cordia New" pitchFamily="34" charset="-34"/>
                <a:cs typeface="Cordia New" pitchFamily="34" charset="-34"/>
              </a:rPr>
              <a:t>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/>
              <a:pPr>
                <a:defRPr/>
              </a:pPr>
              <a:t>20</a:t>
            </a:fld>
            <a:endParaRPr lang="th-TH"/>
          </a:p>
        </p:txBody>
      </p:sp>
      <p:sp>
        <p:nvSpPr>
          <p:cNvPr id="86" name="Rectangle 85"/>
          <p:cNvSpPr/>
          <p:nvPr/>
        </p:nvSpPr>
        <p:spPr>
          <a:xfrm>
            <a:off x="538588" y="1072218"/>
            <a:ext cx="7762031" cy="905745"/>
          </a:xfrm>
          <a:prstGeom prst="rect">
            <a:avLst/>
          </a:prstGeom>
          <a:noFill/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20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CTO</a:t>
            </a:r>
          </a:p>
        </p:txBody>
      </p:sp>
      <p:sp>
        <p:nvSpPr>
          <p:cNvPr id="87" name="Rectangle 86"/>
          <p:cNvSpPr/>
          <p:nvPr/>
        </p:nvSpPr>
        <p:spPr>
          <a:xfrm>
            <a:off x="538588" y="2103824"/>
            <a:ext cx="7762031" cy="905745"/>
          </a:xfrm>
          <a:prstGeom prst="rect">
            <a:avLst/>
          </a:prstGeom>
          <a:noFill/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th-TH" sz="20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ศูนย์รวมข้อมูล</a:t>
            </a:r>
            <a:endParaRPr lang="en-US" sz="20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538588" y="3121939"/>
            <a:ext cx="7762031" cy="3135272"/>
          </a:xfrm>
          <a:prstGeom prst="rect">
            <a:avLst/>
          </a:prstGeom>
          <a:noFill/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th-TH" sz="20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อุปกรณ์สถานี</a:t>
            </a:r>
            <a:endParaRPr lang="en-US" sz="20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65237" y="1214344"/>
            <a:ext cx="7008188" cy="4874303"/>
            <a:chOff x="665237" y="1214344"/>
            <a:chExt cx="7008188" cy="4874303"/>
          </a:xfrm>
        </p:grpSpPr>
        <p:pic>
          <p:nvPicPr>
            <p:cNvPr id="89" name="Picture 88" descr="C:\Users\Thanida\Desktop\Wqrk\AG1 copy.gif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247976" y="4767043"/>
              <a:ext cx="1900483" cy="1201854"/>
            </a:xfrm>
            <a:prstGeom prst="rect">
              <a:avLst/>
            </a:prstGeom>
            <a:noFill/>
          </p:spPr>
        </p:pic>
        <p:sp>
          <p:nvSpPr>
            <p:cNvPr id="90" name="Rounded Rectangle 89"/>
            <p:cNvSpPr/>
            <p:nvPr/>
          </p:nvSpPr>
          <p:spPr>
            <a:xfrm>
              <a:off x="2821293" y="3510757"/>
              <a:ext cx="4461065" cy="484922"/>
            </a:xfrm>
            <a:prstGeom prst="roundRect">
              <a:avLst/>
            </a:prstGeom>
            <a:solidFill>
              <a:schemeClr val="accent1"/>
            </a:solidFill>
            <a:effectLst>
              <a:innerShdw blurRad="114300">
                <a:prstClr val="black"/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latin typeface="Cordia New" pitchFamily="34" charset="-34"/>
                  <a:cs typeface="Cordia New" pitchFamily="34" charset="-34"/>
                </a:rPr>
                <a:t>Station Computer</a:t>
              </a:r>
            </a:p>
          </p:txBody>
        </p:sp>
        <p:sp>
          <p:nvSpPr>
            <p:cNvPr id="91" name="Rounded Rectangle 90"/>
            <p:cNvSpPr/>
            <p:nvPr/>
          </p:nvSpPr>
          <p:spPr>
            <a:xfrm>
              <a:off x="2808613" y="2326327"/>
              <a:ext cx="4466829" cy="487709"/>
            </a:xfrm>
            <a:prstGeom prst="roundRect">
              <a:avLst/>
            </a:prstGeom>
            <a:solidFill>
              <a:schemeClr val="accent1"/>
            </a:solidFill>
            <a:effectLst>
              <a:innerShdw blurRad="114300">
                <a:prstClr val="black"/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latin typeface="Cordia New" pitchFamily="34" charset="-34"/>
                  <a:cs typeface="Cordia New" pitchFamily="34" charset="-34"/>
                </a:rPr>
                <a:t>Central Computer</a:t>
              </a:r>
            </a:p>
          </p:txBody>
        </p:sp>
        <p:sp>
          <p:nvSpPr>
            <p:cNvPr id="92" name="Rounded Rectangle 91"/>
            <p:cNvSpPr/>
            <p:nvPr/>
          </p:nvSpPr>
          <p:spPr>
            <a:xfrm>
              <a:off x="2792079" y="1214344"/>
              <a:ext cx="4466829" cy="484922"/>
            </a:xfrm>
            <a:prstGeom prst="roundRect">
              <a:avLst/>
            </a:prstGeom>
            <a:solidFill>
              <a:schemeClr val="accent1"/>
            </a:solidFill>
            <a:effectLst>
              <a:innerShdw blurRad="114300">
                <a:prstClr val="black"/>
              </a:inn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  <a:latin typeface="Cordia New" pitchFamily="34" charset="-34"/>
                  <a:cs typeface="Cordia New" pitchFamily="34" charset="-34"/>
                </a:rPr>
                <a:t>CCH</a:t>
              </a:r>
              <a:endParaRPr lang="en-US" sz="2400" b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endParaRPr>
            </a:p>
          </p:txBody>
        </p:sp>
        <p:cxnSp>
          <p:nvCxnSpPr>
            <p:cNvPr id="108" name="Straight Arrow Connector 107"/>
            <p:cNvCxnSpPr>
              <a:endCxn id="90" idx="2"/>
            </p:cNvCxnSpPr>
            <p:nvPr/>
          </p:nvCxnSpPr>
          <p:spPr>
            <a:xfrm flipV="1">
              <a:off x="5051826" y="3995679"/>
              <a:ext cx="0" cy="1256896"/>
            </a:xfrm>
            <a:prstGeom prst="straightConnector1">
              <a:avLst/>
            </a:prstGeom>
            <a:ln w="28575">
              <a:solidFill>
                <a:srgbClr val="C00000"/>
              </a:solidFill>
              <a:headEnd type="triangle"/>
              <a:tailEnd type="triangl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0" name="Straight Arrow Connector 109"/>
            <p:cNvCxnSpPr>
              <a:stCxn id="90" idx="0"/>
              <a:endCxn id="91" idx="2"/>
            </p:cNvCxnSpPr>
            <p:nvPr/>
          </p:nvCxnSpPr>
          <p:spPr>
            <a:xfrm flipH="1" flipV="1">
              <a:off x="5042031" y="2814036"/>
              <a:ext cx="9798" cy="696727"/>
            </a:xfrm>
            <a:prstGeom prst="straightConnector1">
              <a:avLst/>
            </a:prstGeom>
            <a:ln w="28575">
              <a:solidFill>
                <a:srgbClr val="C00000"/>
              </a:solidFill>
              <a:headEnd type="triangle"/>
              <a:tailEnd type="triangl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1" name="Straight Arrow Connector 110"/>
            <p:cNvCxnSpPr>
              <a:stCxn id="91" idx="0"/>
              <a:endCxn id="92" idx="2"/>
            </p:cNvCxnSpPr>
            <p:nvPr/>
          </p:nvCxnSpPr>
          <p:spPr>
            <a:xfrm flipH="1" flipV="1">
              <a:off x="5025494" y="1699266"/>
              <a:ext cx="16537" cy="627054"/>
            </a:xfrm>
            <a:prstGeom prst="straightConnector1">
              <a:avLst/>
            </a:prstGeom>
            <a:ln w="28575">
              <a:solidFill>
                <a:srgbClr val="C00000"/>
              </a:solidFill>
              <a:headEnd type="triangle"/>
              <a:tailEnd type="triangle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112" name="Down Arrow Callout 111"/>
            <p:cNvSpPr/>
            <p:nvPr/>
          </p:nvSpPr>
          <p:spPr>
            <a:xfrm>
              <a:off x="2442479" y="1440261"/>
              <a:ext cx="1537761" cy="1095078"/>
            </a:xfrm>
            <a:prstGeom prst="downArrowCallout">
              <a:avLst>
                <a:gd name="adj1" fmla="val 25000"/>
                <a:gd name="adj2" fmla="val 25000"/>
                <a:gd name="adj3" fmla="val 25000"/>
                <a:gd name="adj4" fmla="val 69749"/>
              </a:avLst>
            </a:prstGeom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  <a:softEdge rad="31750"/>
            </a:effectLst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800" dirty="0" smtClean="0">
                  <a:solidFill>
                    <a:prstClr val="black"/>
                  </a:solidFill>
                </a:rPr>
                <a:t>Card Parameter</a:t>
              </a:r>
              <a:endParaRPr lang="en-US" sz="800" dirty="0">
                <a:solidFill>
                  <a:prstClr val="black"/>
                </a:solidFill>
              </a:endParaRPr>
            </a:p>
            <a:p>
              <a:r>
                <a:rPr lang="en-US" sz="800" dirty="0">
                  <a:solidFill>
                    <a:prstClr val="black"/>
                  </a:solidFill>
                </a:rPr>
                <a:t>Fare Parameter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Specific Parameter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Clock Synchronization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Monitor Equipment Status</a:t>
              </a:r>
            </a:p>
          </p:txBody>
        </p:sp>
        <p:sp>
          <p:nvSpPr>
            <p:cNvPr id="113" name="Up Arrow Callout 112"/>
            <p:cNvSpPr/>
            <p:nvPr/>
          </p:nvSpPr>
          <p:spPr>
            <a:xfrm>
              <a:off x="5989211" y="3809133"/>
              <a:ext cx="1684214" cy="955732"/>
            </a:xfrm>
            <a:prstGeom prst="upArrowCallout">
              <a:avLst>
                <a:gd name="adj1" fmla="val 29312"/>
                <a:gd name="adj2" fmla="val 32290"/>
                <a:gd name="adj3" fmla="val 31379"/>
                <a:gd name="adj4" fmla="val 60481"/>
              </a:avLst>
            </a:prstGeom>
            <a:gradFill>
              <a:gsLst>
                <a:gs pos="0">
                  <a:srgbClr val="FFFF99"/>
                </a:gs>
                <a:gs pos="35000">
                  <a:srgbClr val="FFFF66"/>
                </a:gs>
                <a:gs pos="100000">
                  <a:srgbClr val="FFFF00"/>
                </a:gs>
              </a:gsLst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  <a:softEdge rad="31750"/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800" dirty="0">
                  <a:solidFill>
                    <a:prstClr val="black"/>
                  </a:solidFill>
                </a:rPr>
                <a:t>Equipment usage Transaction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Equipment Audit Register</a:t>
              </a:r>
            </a:p>
          </p:txBody>
        </p:sp>
        <p:sp>
          <p:nvSpPr>
            <p:cNvPr id="114" name="Down Arrow Callout 113"/>
            <p:cNvSpPr/>
            <p:nvPr/>
          </p:nvSpPr>
          <p:spPr>
            <a:xfrm>
              <a:off x="2442479" y="2507453"/>
              <a:ext cx="1537761" cy="1325045"/>
            </a:xfrm>
            <a:prstGeom prst="downArrowCallout">
              <a:avLst>
                <a:gd name="adj1" fmla="val 25000"/>
                <a:gd name="adj2" fmla="val 25000"/>
                <a:gd name="adj3" fmla="val 25000"/>
                <a:gd name="adj4" fmla="val 69749"/>
              </a:avLst>
            </a:prstGeom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  <a:softEdge rad="31750"/>
            </a:effectLst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800" dirty="0" smtClean="0">
                  <a:solidFill>
                    <a:prstClr val="black"/>
                  </a:solidFill>
                </a:rPr>
                <a:t>Equipment Parameter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Card </a:t>
              </a:r>
              <a:r>
                <a:rPr lang="en-US" sz="800" dirty="0" smtClean="0">
                  <a:solidFill>
                    <a:prstClr val="black"/>
                  </a:solidFill>
                </a:rPr>
                <a:t>Parameter</a:t>
              </a:r>
              <a:endParaRPr lang="en-US" sz="800" dirty="0">
                <a:solidFill>
                  <a:prstClr val="black"/>
                </a:solidFill>
              </a:endParaRPr>
            </a:p>
            <a:p>
              <a:r>
                <a:rPr lang="en-US" sz="800" dirty="0">
                  <a:solidFill>
                    <a:prstClr val="black"/>
                  </a:solidFill>
                </a:rPr>
                <a:t>Fare Parameter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Specific Parameter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Clock Synchronization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Monitor Equipment Status</a:t>
              </a:r>
            </a:p>
          </p:txBody>
        </p:sp>
        <p:sp>
          <p:nvSpPr>
            <p:cNvPr id="115" name="Down Arrow Callout 114"/>
            <p:cNvSpPr/>
            <p:nvPr/>
          </p:nvSpPr>
          <p:spPr>
            <a:xfrm>
              <a:off x="2442479" y="3780507"/>
              <a:ext cx="1537761" cy="1204586"/>
            </a:xfrm>
            <a:prstGeom prst="downArrowCallout">
              <a:avLst>
                <a:gd name="adj1" fmla="val 25000"/>
                <a:gd name="adj2" fmla="val 25000"/>
                <a:gd name="adj3" fmla="val 25000"/>
                <a:gd name="adj4" fmla="val 69749"/>
              </a:avLst>
            </a:prstGeom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  <a:softEdge rad="31750"/>
            </a:effectLst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800" dirty="0">
                  <a:solidFill>
                    <a:prstClr val="black"/>
                  </a:solidFill>
                </a:rPr>
                <a:t>Equipment </a:t>
              </a:r>
              <a:r>
                <a:rPr lang="en-US" sz="800" dirty="0" smtClean="0">
                  <a:solidFill>
                    <a:prstClr val="black"/>
                  </a:solidFill>
                </a:rPr>
                <a:t>Parameter</a:t>
              </a:r>
            </a:p>
            <a:p>
              <a:r>
                <a:rPr lang="en-US" sz="800" dirty="0" smtClean="0">
                  <a:solidFill>
                    <a:prstClr val="black"/>
                  </a:solidFill>
                </a:rPr>
                <a:t>Card Parameter</a:t>
              </a:r>
              <a:endParaRPr lang="en-US" sz="800" dirty="0">
                <a:solidFill>
                  <a:prstClr val="black"/>
                </a:solidFill>
              </a:endParaRPr>
            </a:p>
            <a:p>
              <a:r>
                <a:rPr lang="en-US" sz="800" dirty="0">
                  <a:solidFill>
                    <a:prstClr val="black"/>
                  </a:solidFill>
                </a:rPr>
                <a:t>Fare Parameter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Specific Parameter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Clock Synchronization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Monitor Equipment Status</a:t>
              </a:r>
            </a:p>
          </p:txBody>
        </p:sp>
        <p:sp>
          <p:nvSpPr>
            <p:cNvPr id="116" name="Up Arrow Callout 115"/>
            <p:cNvSpPr/>
            <p:nvPr/>
          </p:nvSpPr>
          <p:spPr>
            <a:xfrm>
              <a:off x="5989211" y="2615988"/>
              <a:ext cx="1684214" cy="955732"/>
            </a:xfrm>
            <a:prstGeom prst="upArrowCallout">
              <a:avLst>
                <a:gd name="adj1" fmla="val 29312"/>
                <a:gd name="adj2" fmla="val 32290"/>
                <a:gd name="adj3" fmla="val 31379"/>
                <a:gd name="adj4" fmla="val 60481"/>
              </a:avLst>
            </a:prstGeom>
            <a:gradFill>
              <a:gsLst>
                <a:gs pos="0">
                  <a:srgbClr val="FFFF99"/>
                </a:gs>
                <a:gs pos="35000">
                  <a:srgbClr val="FFFF66"/>
                </a:gs>
                <a:gs pos="100000">
                  <a:srgbClr val="FFFF00"/>
                </a:gs>
              </a:gsLst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  <a:softEdge rad="31750"/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800" dirty="0">
                  <a:solidFill>
                    <a:prstClr val="black"/>
                  </a:solidFill>
                </a:rPr>
                <a:t>Equipment usage Transaction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Equipment Audit Register</a:t>
              </a:r>
            </a:p>
          </p:txBody>
        </p:sp>
        <p:sp>
          <p:nvSpPr>
            <p:cNvPr id="117" name="Up Arrow Callout 116"/>
            <p:cNvSpPr/>
            <p:nvPr/>
          </p:nvSpPr>
          <p:spPr>
            <a:xfrm>
              <a:off x="5989211" y="1492516"/>
              <a:ext cx="1684214" cy="955732"/>
            </a:xfrm>
            <a:prstGeom prst="upArrowCallout">
              <a:avLst>
                <a:gd name="adj1" fmla="val 29312"/>
                <a:gd name="adj2" fmla="val 32290"/>
                <a:gd name="adj3" fmla="val 31379"/>
                <a:gd name="adj4" fmla="val 60481"/>
              </a:avLst>
            </a:prstGeom>
            <a:gradFill>
              <a:gsLst>
                <a:gs pos="0">
                  <a:srgbClr val="FFFF99"/>
                </a:gs>
                <a:gs pos="35000">
                  <a:srgbClr val="FFFF66"/>
                </a:gs>
                <a:gs pos="100000">
                  <a:srgbClr val="FFFF00"/>
                </a:gs>
              </a:gsLst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  <a:softEdge rad="31750"/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800" dirty="0">
                  <a:solidFill>
                    <a:prstClr val="black"/>
                  </a:solidFill>
                </a:rPr>
                <a:t>Equipment usage Transaction</a:t>
              </a:r>
            </a:p>
            <a:p>
              <a:r>
                <a:rPr lang="en-US" sz="800" dirty="0">
                  <a:solidFill>
                    <a:prstClr val="black"/>
                  </a:solidFill>
                </a:rPr>
                <a:t>Equipment Audit Register</a:t>
              </a:r>
            </a:p>
          </p:txBody>
        </p:sp>
        <p:pic>
          <p:nvPicPr>
            <p:cNvPr id="118" name="Picture 3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1175" y="5047298"/>
              <a:ext cx="1633461" cy="9325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9" name="Rounded Rectangular Callout 118"/>
            <p:cNvSpPr/>
            <p:nvPr/>
          </p:nvSpPr>
          <p:spPr>
            <a:xfrm>
              <a:off x="665237" y="4770495"/>
              <a:ext cx="2072821" cy="1318152"/>
            </a:xfrm>
            <a:prstGeom prst="wedgeRoundRectCallout">
              <a:avLst>
                <a:gd name="adj1" fmla="val 83824"/>
                <a:gd name="adj2" fmla="val -26685"/>
                <a:gd name="adj3" fmla="val 16667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white"/>
                </a:solidFill>
              </a:endParaRPr>
            </a:p>
          </p:txBody>
        </p:sp>
        <p:sp>
          <p:nvSpPr>
            <p:cNvPr id="120" name="Rounded Rectangle 119"/>
            <p:cNvSpPr/>
            <p:nvPr/>
          </p:nvSpPr>
          <p:spPr>
            <a:xfrm>
              <a:off x="4784028" y="5344644"/>
              <a:ext cx="477679" cy="257537"/>
            </a:xfrm>
            <a:prstGeom prst="roundRect">
              <a:avLst/>
            </a:prstGeom>
            <a:solidFill>
              <a:srgbClr val="FFFF99"/>
            </a:solidFill>
            <a:ln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4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  <a:effectLst>
              <a:innerShdw blurRad="50800">
                <a:srgbClr val="FF6600"/>
              </a:innerShdw>
            </a:effectLst>
            <a:scene3d>
              <a:camera prst="orthographicFront">
                <a:rot lat="1200000" lon="18600000" rev="0"/>
              </a:camera>
              <a:lightRig rig="threePt" dir="t"/>
            </a:scene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prstClr val="black"/>
                  </a:solidFill>
                </a:rPr>
                <a:t>ECU</a:t>
              </a:r>
            </a:p>
          </p:txBody>
        </p:sp>
        <p:cxnSp>
          <p:nvCxnSpPr>
            <p:cNvPr id="121" name="Elbow Connector 120"/>
            <p:cNvCxnSpPr/>
            <p:nvPr/>
          </p:nvCxnSpPr>
          <p:spPr>
            <a:xfrm>
              <a:off x="4687338" y="5309191"/>
              <a:ext cx="219680" cy="27257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  <a:scene3d>
              <a:camera prst="orthographicFront">
                <a:rot lat="1800000" lon="19199999" rev="0"/>
              </a:camera>
              <a:lightRig rig="threePt" dir="t"/>
            </a:scene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Rectangle 121"/>
            <p:cNvSpPr/>
            <p:nvPr/>
          </p:nvSpPr>
          <p:spPr>
            <a:xfrm>
              <a:off x="4518859" y="5309185"/>
              <a:ext cx="204644" cy="140998"/>
            </a:xfrm>
            <a:prstGeom prst="rect">
              <a:avLst/>
            </a:prstGeom>
            <a:effectLst/>
            <a:scene3d>
              <a:camera prst="isometricOffAxis1Right">
                <a:rot lat="1554083" lon="19743416" rev="295043"/>
              </a:camera>
              <a:lightRig rig="threePt" dir="t"/>
            </a:scene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prstClr val="black"/>
                </a:solidFill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4425233" y="5258991"/>
              <a:ext cx="391015" cy="225826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isometricOffAxis1Right">
                <a:rot lat="1554083" lon="19743416" rev="295043"/>
              </a:camera>
              <a:lightRig rig="threePt" dir="t"/>
            </a:scene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>
                  <a:solidFill>
                    <a:schemeClr val="dk1"/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en-US" sz="600" b="1" dirty="0">
                  <a:solidFill>
                    <a:prstClr val="black"/>
                  </a:solidFill>
                </a:rPr>
                <a:t>SAM</a:t>
              </a:r>
              <a:endParaRPr lang="en-US" sz="2000" b="1" dirty="0">
                <a:solidFill>
                  <a:prstClr val="black"/>
                </a:solidFill>
              </a:endParaRPr>
            </a:p>
          </p:txBody>
        </p:sp>
        <p:pic>
          <p:nvPicPr>
            <p:cNvPr id="28" name="Picture 6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576" y="4649665"/>
              <a:ext cx="699697" cy="507527"/>
            </a:xfrm>
            <a:prstGeom prst="roundRect">
              <a:avLst/>
            </a:prstGeom>
            <a:gradFill flip="none" rotWithShape="1">
              <a:gsLst>
                <a:gs pos="0">
                  <a:schemeClr val="accent2">
                    <a:lumMod val="40000"/>
                    <a:lumOff val="60000"/>
                    <a:shade val="30000"/>
                    <a:satMod val="115000"/>
                  </a:schemeClr>
                </a:gs>
                <a:gs pos="50000">
                  <a:schemeClr val="accent2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accent2">
                    <a:lumMod val="40000"/>
                    <a:lumOff val="6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pic>
        <p:sp>
          <p:nvSpPr>
            <p:cNvPr id="29" name="Rectangle 28"/>
            <p:cNvSpPr/>
            <p:nvPr>
              <p:custDataLst>
                <p:tags r:id="rId6"/>
              </p:custDataLst>
            </p:nvPr>
          </p:nvSpPr>
          <p:spPr bwMode="auto">
            <a:xfrm>
              <a:off x="842098" y="4705683"/>
              <a:ext cx="251872" cy="14896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i="1" dirty="0" smtClean="0">
                  <a:solidFill>
                    <a:schemeClr val="bg1"/>
                  </a:solidFill>
                  <a:latin typeface="Cordia New" pitchFamily="34" charset="-34"/>
                  <a:cs typeface="Cordia New" pitchFamily="34" charset="-34"/>
                </a:rPr>
                <a:t>NC</a:t>
              </a:r>
              <a:endParaRPr lang="th-TH" sz="2000" i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3987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7" name="Object 16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67547" y="404664"/>
            <a:ext cx="7749366" cy="50405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th-TH" sz="2400" dirty="0">
                <a:latin typeface="Cordia New" pitchFamily="34" charset="-34"/>
                <a:cs typeface="Cordia New" pitchFamily="34" charset="-34"/>
              </a:rPr>
              <a:t>แนวทางการปรับปรุงระบบ </a:t>
            </a:r>
            <a:r>
              <a:rPr lang="en-US" sz="2400" dirty="0">
                <a:latin typeface="Cordia New" pitchFamily="34" charset="-34"/>
                <a:cs typeface="Cordia New" pitchFamily="34" charset="-34"/>
              </a:rPr>
              <a:t>Front-end – </a:t>
            </a:r>
            <a:r>
              <a:rPr lang="th-TH" sz="2400" dirty="0">
                <a:latin typeface="Cordia New" pitchFamily="34" charset="-34"/>
                <a:cs typeface="Cordia New" pitchFamily="34" charset="-34"/>
              </a:rPr>
              <a:t>ระบบทางพิเศษ (</a:t>
            </a:r>
            <a:r>
              <a:rPr lang="en-US" sz="2400" dirty="0">
                <a:latin typeface="Cordia New" pitchFamily="34" charset="-34"/>
                <a:cs typeface="Cordia New" pitchFamily="34" charset="-34"/>
              </a:rPr>
              <a:t>F/E Modification - Toll</a:t>
            </a:r>
            <a:r>
              <a:rPr lang="th-TH" sz="2400" dirty="0">
                <a:latin typeface="Cordia New" pitchFamily="34" charset="-34"/>
                <a:cs typeface="Cordia New" pitchFamily="34" charset="-34"/>
              </a:rPr>
              <a:t>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/>
              <a:pPr>
                <a:defRPr/>
              </a:pPr>
              <a:t>21</a:t>
            </a:fld>
            <a:endParaRPr lang="th-TH"/>
          </a:p>
        </p:txBody>
      </p:sp>
      <p:sp>
        <p:nvSpPr>
          <p:cNvPr id="133" name="Rectangle 132"/>
          <p:cNvSpPr/>
          <p:nvPr/>
        </p:nvSpPr>
        <p:spPr>
          <a:xfrm>
            <a:off x="501873" y="2887275"/>
            <a:ext cx="7636322" cy="855792"/>
          </a:xfrm>
          <a:prstGeom prst="rect">
            <a:avLst/>
          </a:prstGeom>
          <a:noFill/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th-TH" sz="20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ช่องเก็บเงินทางด่วน</a:t>
            </a:r>
            <a:endParaRPr lang="en-US" sz="20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501873" y="1052742"/>
            <a:ext cx="7636322" cy="758811"/>
          </a:xfrm>
          <a:prstGeom prst="rect">
            <a:avLst/>
          </a:prstGeom>
          <a:noFill/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20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CTO</a:t>
            </a:r>
          </a:p>
        </p:txBody>
      </p:sp>
      <p:sp>
        <p:nvSpPr>
          <p:cNvPr id="138" name="Rectangle 137"/>
          <p:cNvSpPr/>
          <p:nvPr/>
        </p:nvSpPr>
        <p:spPr>
          <a:xfrm>
            <a:off x="501873" y="1880533"/>
            <a:ext cx="7636322" cy="931269"/>
          </a:xfrm>
          <a:prstGeom prst="rect">
            <a:avLst/>
          </a:prstGeom>
          <a:noFill/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20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EXAT HQ</a:t>
            </a:r>
          </a:p>
        </p:txBody>
      </p:sp>
      <p:sp>
        <p:nvSpPr>
          <p:cNvPr id="139" name="Rectangle 138"/>
          <p:cNvSpPr/>
          <p:nvPr/>
        </p:nvSpPr>
        <p:spPr>
          <a:xfrm>
            <a:off x="501873" y="3808531"/>
            <a:ext cx="7636322" cy="2276434"/>
          </a:xfrm>
          <a:prstGeom prst="rect">
            <a:avLst/>
          </a:prstGeom>
          <a:noFill/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th-TH" sz="2000" b="1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ทางขึ้นทางด่วน</a:t>
            </a:r>
            <a:endParaRPr lang="en-US" sz="20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289700" y="1190702"/>
            <a:ext cx="5641814" cy="5118618"/>
            <a:chOff x="2289700" y="1190702"/>
            <a:chExt cx="5641814" cy="5118618"/>
          </a:xfrm>
        </p:grpSpPr>
        <p:sp>
          <p:nvSpPr>
            <p:cNvPr id="175" name="Rounded Rectangle 174"/>
            <p:cNvSpPr/>
            <p:nvPr/>
          </p:nvSpPr>
          <p:spPr>
            <a:xfrm>
              <a:off x="2429616" y="5792350"/>
              <a:ext cx="2052115" cy="516970"/>
            </a:xfrm>
            <a:prstGeom prst="round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+mj-lt"/>
                  <a:ea typeface="+mn-ea"/>
                  <a:cs typeface="Cordia New" pitchFamily="34" charset="-34"/>
                </a:rPr>
                <a:t>EASY Pass</a:t>
              </a:r>
              <a:endParaRPr lang="en-US" sz="1200" b="1" kern="0" noProof="0" dirty="0">
                <a:solidFill>
                  <a:prstClr val="black"/>
                </a:solidFill>
                <a:latin typeface="+mj-lt"/>
                <a:cs typeface="Cordia New" pitchFamily="34" charset="-34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h-TH" sz="1400" b="1" kern="0" dirty="0" smtClean="0">
                  <a:solidFill>
                    <a:prstClr val="black"/>
                  </a:solidFill>
                  <a:latin typeface="+mj-lt"/>
                  <a:cs typeface="Cordia New" pitchFamily="34" charset="-34"/>
                </a:rPr>
                <a:t>(ช่องผ่านทางอัตโนมัติ)</a:t>
              </a: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uLnTx/>
                <a:uFillTx/>
                <a:latin typeface="+mj-lt"/>
                <a:cs typeface="Cordia New" pitchFamily="34" charset="-34"/>
              </a:endParaRPr>
            </a:p>
          </p:txBody>
        </p:sp>
        <p:sp>
          <p:nvSpPr>
            <p:cNvPr id="176" name="Rounded Rectangle 175"/>
            <p:cNvSpPr/>
            <p:nvPr/>
          </p:nvSpPr>
          <p:spPr>
            <a:xfrm>
              <a:off x="5508107" y="5792350"/>
              <a:ext cx="2052115" cy="516970"/>
            </a:xfrm>
            <a:prstGeom prst="roundRect">
              <a:avLst/>
            </a:prstGeom>
            <a:solidFill>
              <a:srgbClr val="003300"/>
            </a:soli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uLnTx/>
                  <a:uFillTx/>
                  <a:latin typeface="+mj-lt"/>
                  <a:ea typeface="+mn-ea"/>
                  <a:cs typeface="Cordia New" pitchFamily="34" charset="-34"/>
                </a:rPr>
                <a:t>Touch and</a:t>
              </a:r>
              <a:r>
                <a:rPr kumimoji="0" lang="en-US" sz="1200" b="1" i="0" u="none" strike="noStrike" kern="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uLnTx/>
                  <a:uFillTx/>
                  <a:latin typeface="+mj-lt"/>
                  <a:ea typeface="+mn-ea"/>
                  <a:cs typeface="Cordia New" pitchFamily="34" charset="-34"/>
                </a:rPr>
                <a:t> GO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h-TH" sz="1400" b="1" kern="0" noProof="0" dirty="0" smtClean="0">
                  <a:solidFill>
                    <a:schemeClr val="bg1"/>
                  </a:solidFill>
                  <a:latin typeface="+mj-lt"/>
                  <a:cs typeface="Cordia New" pitchFamily="34" charset="-34"/>
                </a:rPr>
                <a:t>(แตะแล้วผ่านในช่องเก็บเงินสด)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+mj-lt"/>
                <a:ea typeface="+mn-ea"/>
                <a:cs typeface="Cordia New" pitchFamily="34" charset="-34"/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2289700" y="1190702"/>
              <a:ext cx="5641814" cy="4552869"/>
              <a:chOff x="2289700" y="1190702"/>
              <a:chExt cx="5641814" cy="4552869"/>
            </a:xfrm>
          </p:grpSpPr>
          <p:pic>
            <p:nvPicPr>
              <p:cNvPr id="134" name="Picture 2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2289700" y="4877765"/>
                <a:ext cx="1165974" cy="86580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5" name="Picture 134"/>
              <p:cNvPicPr>
                <a:picLocks noChangeAspect="1" noChangeArrowheads="1"/>
              </p:cNvPicPr>
              <p:nvPr/>
            </p:nvPicPr>
            <p:blipFill>
              <a:blip r:embed="rId9" cstate="print">
                <a:lum bright="38000"/>
              </a:blip>
              <a:srcRect/>
              <a:stretch>
                <a:fillRect/>
              </a:stretch>
            </p:blipFill>
            <p:spPr bwMode="auto">
              <a:xfrm>
                <a:off x="6176281" y="4691578"/>
                <a:ext cx="365350" cy="3807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136" name="Picture 135"/>
              <p:cNvPicPr>
                <a:picLocks noChangeAspect="1" noChangeArrowheads="1"/>
              </p:cNvPicPr>
              <p:nvPr/>
            </p:nvPicPr>
            <p:blipFill>
              <a:blip r:embed="rId9" cstate="print">
                <a:lum bright="38000"/>
              </a:blip>
              <a:srcRect/>
              <a:stretch>
                <a:fillRect/>
              </a:stretch>
            </p:blipFill>
            <p:spPr bwMode="auto">
              <a:xfrm>
                <a:off x="3300211" y="4808000"/>
                <a:ext cx="365350" cy="3807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140" name="Picture 2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4777112" y="4877765"/>
                <a:ext cx="1165974" cy="86580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41" name="Rectangle 140"/>
              <p:cNvSpPr/>
              <p:nvPr/>
            </p:nvSpPr>
            <p:spPr>
              <a:xfrm>
                <a:off x="2445164" y="3980988"/>
                <a:ext cx="777316" cy="137966"/>
              </a:xfrm>
              <a:prstGeom prst="rect">
                <a:avLst/>
              </a:prstGeom>
              <a:gradFill rotWithShape="1">
                <a:gsLst>
                  <a:gs pos="0">
                    <a:srgbClr val="FEB80A">
                      <a:tint val="50000"/>
                      <a:satMod val="300000"/>
                    </a:srgbClr>
                  </a:gs>
                  <a:gs pos="35000">
                    <a:srgbClr val="FEB80A">
                      <a:tint val="37000"/>
                      <a:satMod val="300000"/>
                    </a:srgbClr>
                  </a:gs>
                  <a:gs pos="100000">
                    <a:srgbClr val="FEB80A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FEB80A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3688873" y="3980988"/>
                <a:ext cx="932779" cy="158660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sp>
            <p:nvSpPr>
              <p:cNvPr id="143" name="Rectangle 142"/>
              <p:cNvSpPr/>
              <p:nvPr/>
            </p:nvSpPr>
            <p:spPr>
              <a:xfrm>
                <a:off x="6564943" y="3980988"/>
                <a:ext cx="932779" cy="158660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sp>
            <p:nvSpPr>
              <p:cNvPr id="144" name="Rounded Rectangle 143"/>
              <p:cNvSpPr/>
              <p:nvPr/>
            </p:nvSpPr>
            <p:spPr>
              <a:xfrm>
                <a:off x="3727735" y="5329679"/>
                <a:ext cx="855048" cy="206949"/>
              </a:xfrm>
              <a:prstGeom prst="roundRect">
                <a:avLst/>
              </a:prstGeom>
              <a:gradFill rotWithShape="1">
                <a:gsLst>
                  <a:gs pos="0">
                    <a:srgbClr val="738AC8">
                      <a:tint val="50000"/>
                      <a:satMod val="300000"/>
                    </a:srgbClr>
                  </a:gs>
                  <a:gs pos="35000">
                    <a:srgbClr val="738AC8">
                      <a:tint val="37000"/>
                      <a:satMod val="300000"/>
                    </a:srgbClr>
                  </a:gs>
                  <a:gs pos="100000">
                    <a:srgbClr val="738AC8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738AC8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h-TH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ordia New" pitchFamily="34" charset="-34"/>
                    <a:ea typeface="+mn-ea"/>
                    <a:cs typeface="Cordia New" pitchFamily="34" charset="-34"/>
                  </a:rPr>
                  <a:t>ช่องเก็บเงิน</a:t>
                </a:r>
                <a:endPara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sp>
            <p:nvSpPr>
              <p:cNvPr id="145" name="Rounded Rectangle 144"/>
              <p:cNvSpPr/>
              <p:nvPr/>
            </p:nvSpPr>
            <p:spPr>
              <a:xfrm>
                <a:off x="6613522" y="5329679"/>
                <a:ext cx="855048" cy="206949"/>
              </a:xfrm>
              <a:prstGeom prst="roundRect">
                <a:avLst/>
              </a:prstGeom>
              <a:gradFill rotWithShape="1">
                <a:gsLst>
                  <a:gs pos="0">
                    <a:srgbClr val="738AC8">
                      <a:tint val="50000"/>
                      <a:satMod val="300000"/>
                    </a:srgbClr>
                  </a:gs>
                  <a:gs pos="35000">
                    <a:srgbClr val="738AC8">
                      <a:tint val="37000"/>
                      <a:satMod val="300000"/>
                    </a:srgbClr>
                  </a:gs>
                  <a:gs pos="100000">
                    <a:srgbClr val="738AC8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738AC8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lvl="0" algn="ctr">
                  <a:defRPr/>
                </a:pPr>
                <a:r>
                  <a:rPr lang="th-TH" sz="1100" b="1" kern="0" dirty="0">
                    <a:solidFill>
                      <a:prstClr val="black"/>
                    </a:solidFill>
                    <a:latin typeface="Cordia New" pitchFamily="34" charset="-34"/>
                    <a:cs typeface="Cordia New" pitchFamily="34" charset="-34"/>
                  </a:rPr>
                  <a:t>ช่องเก็บเงิน</a:t>
                </a:r>
                <a:endParaRPr lang="en-US" sz="1100" b="1" kern="0" dirty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endParaRPr>
              </a:p>
            </p:txBody>
          </p:sp>
          <p:sp>
            <p:nvSpPr>
              <p:cNvPr id="150" name="Rectangle 149"/>
              <p:cNvSpPr/>
              <p:nvPr/>
            </p:nvSpPr>
            <p:spPr>
              <a:xfrm>
                <a:off x="6642671" y="4463868"/>
                <a:ext cx="777316" cy="482880"/>
              </a:xfrm>
              <a:prstGeom prst="rect">
                <a:avLst/>
              </a:prstGeom>
              <a:gradFill rotWithShape="1">
                <a:gsLst>
                  <a:gs pos="0">
                    <a:srgbClr val="7FD13B">
                      <a:tint val="50000"/>
                      <a:satMod val="300000"/>
                    </a:srgbClr>
                  </a:gs>
                  <a:gs pos="35000">
                    <a:srgbClr val="7FD13B">
                      <a:tint val="37000"/>
                      <a:satMod val="300000"/>
                    </a:srgbClr>
                  </a:gs>
                  <a:gs pos="100000">
                    <a:srgbClr val="7FD13B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7FD13B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lvl="0" algn="ctr">
                  <a:defRPr/>
                </a:pPr>
                <a:r>
                  <a:rPr lang="th-TH" sz="1400" b="1" kern="0" dirty="0">
                    <a:solidFill>
                      <a:prstClr val="black"/>
                    </a:solidFill>
                    <a:latin typeface="Cordia New" pitchFamily="34" charset="-34"/>
                    <a:cs typeface="Cordia New" pitchFamily="34" charset="-34"/>
                  </a:rPr>
                  <a:t>ระบบทางด่วน</a:t>
                </a:r>
                <a:endParaRPr lang="en-US" sz="1400" b="1" kern="0" dirty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endParaRPr>
              </a:p>
            </p:txBody>
          </p:sp>
          <p:sp>
            <p:nvSpPr>
              <p:cNvPr id="151" name="Rectangle 150"/>
              <p:cNvSpPr/>
              <p:nvPr/>
            </p:nvSpPr>
            <p:spPr>
              <a:xfrm>
                <a:off x="3766601" y="4463868"/>
                <a:ext cx="777316" cy="482880"/>
              </a:xfrm>
              <a:prstGeom prst="rect">
                <a:avLst/>
              </a:prstGeom>
              <a:gradFill rotWithShape="1">
                <a:gsLst>
                  <a:gs pos="0">
                    <a:srgbClr val="FEB80A">
                      <a:tint val="50000"/>
                      <a:satMod val="300000"/>
                    </a:srgbClr>
                  </a:gs>
                  <a:gs pos="35000">
                    <a:srgbClr val="FEB80A">
                      <a:tint val="37000"/>
                      <a:satMod val="300000"/>
                    </a:srgbClr>
                  </a:gs>
                  <a:gs pos="100000">
                    <a:srgbClr val="FEB80A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FEB80A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h-TH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Cordia New" pitchFamily="34" charset="-34"/>
                    <a:ea typeface="+mn-ea"/>
                    <a:cs typeface="Cordia New" pitchFamily="34" charset="-34"/>
                  </a:rPr>
                  <a:t>ระบบทางด่วน</a:t>
                </a: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cxnSp>
            <p:nvCxnSpPr>
              <p:cNvPr id="152" name="Elbow Connector 151"/>
              <p:cNvCxnSpPr>
                <a:stCxn id="141" idx="3"/>
              </p:cNvCxnSpPr>
              <p:nvPr/>
            </p:nvCxnSpPr>
            <p:spPr>
              <a:xfrm>
                <a:off x="3222480" y="4049973"/>
                <a:ext cx="746224" cy="413897"/>
              </a:xfrm>
              <a:prstGeom prst="bentConnector2">
                <a:avLst/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cxnSp>
            <p:nvCxnSpPr>
              <p:cNvPr id="153" name="Elbow Connector 152"/>
              <p:cNvCxnSpPr>
                <a:stCxn id="150" idx="0"/>
              </p:cNvCxnSpPr>
              <p:nvPr/>
            </p:nvCxnSpPr>
            <p:spPr>
              <a:xfrm rot="16200000" flipH="1" flipV="1">
                <a:off x="6327062" y="4147594"/>
                <a:ext cx="206949" cy="839502"/>
              </a:xfrm>
              <a:prstGeom prst="bentConnector3">
                <a:avLst>
                  <a:gd name="adj1" fmla="val -100000"/>
                </a:avLst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sp>
            <p:nvSpPr>
              <p:cNvPr id="154" name="Rounded Rectangle 153"/>
              <p:cNvSpPr/>
              <p:nvPr/>
            </p:nvSpPr>
            <p:spPr>
              <a:xfrm>
                <a:off x="3470723" y="2156462"/>
                <a:ext cx="1377793" cy="482880"/>
              </a:xfrm>
              <a:prstGeom prst="roundRect">
                <a:avLst/>
              </a:prstGeom>
              <a:gradFill rotWithShape="1">
                <a:gsLst>
                  <a:gs pos="0">
                    <a:srgbClr val="FEB80A">
                      <a:tint val="50000"/>
                      <a:satMod val="300000"/>
                    </a:srgbClr>
                  </a:gs>
                  <a:gs pos="35000">
                    <a:srgbClr val="FEB80A">
                      <a:tint val="37000"/>
                      <a:satMod val="300000"/>
                    </a:srgbClr>
                  </a:gs>
                  <a:gs pos="100000">
                    <a:srgbClr val="FEB80A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FEB80A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+mj-lt"/>
                    <a:ea typeface="+mn-ea"/>
                    <a:cs typeface="Cordia New" pitchFamily="34" charset="-34"/>
                  </a:rPr>
                  <a:t>EXAT CCS</a:t>
                </a:r>
              </a:p>
            </p:txBody>
          </p:sp>
          <p:sp>
            <p:nvSpPr>
              <p:cNvPr id="155" name="Rounded Rectangle 154"/>
              <p:cNvSpPr/>
              <p:nvPr/>
            </p:nvSpPr>
            <p:spPr>
              <a:xfrm>
                <a:off x="4621649" y="1190702"/>
                <a:ext cx="1865559" cy="427248"/>
              </a:xfrm>
              <a:prstGeom prst="roundRect">
                <a:avLst/>
              </a:prstGeom>
              <a:gradFill rotWithShape="1">
                <a:gsLst>
                  <a:gs pos="0">
                    <a:srgbClr val="7FD13B">
                      <a:tint val="50000"/>
                      <a:satMod val="300000"/>
                    </a:srgbClr>
                  </a:gs>
                  <a:gs pos="35000">
                    <a:srgbClr val="7FD13B">
                      <a:tint val="37000"/>
                      <a:satMod val="300000"/>
                    </a:srgbClr>
                  </a:gs>
                  <a:gs pos="100000">
                    <a:srgbClr val="7FD13B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7FD13B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+mj-lt"/>
                    <a:ea typeface="+mn-ea"/>
                    <a:cs typeface="Cordia New" pitchFamily="34" charset="-34"/>
                  </a:rPr>
                  <a:t>CCH</a:t>
                </a:r>
                <a:endPara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+mj-lt"/>
                  <a:ea typeface="+mn-ea"/>
                  <a:cs typeface="Cordia New" pitchFamily="34" charset="-34"/>
                </a:endParaRPr>
              </a:p>
            </p:txBody>
          </p:sp>
          <p:cxnSp>
            <p:nvCxnSpPr>
              <p:cNvPr id="156" name="Shape 50"/>
              <p:cNvCxnSpPr>
                <a:stCxn id="151" idx="0"/>
                <a:endCxn id="171" idx="2"/>
              </p:cNvCxnSpPr>
              <p:nvPr/>
            </p:nvCxnSpPr>
            <p:spPr>
              <a:xfrm rot="5400000" flipH="1" flipV="1">
                <a:off x="3694631" y="3998887"/>
                <a:ext cx="925612" cy="4357"/>
              </a:xfrm>
              <a:prstGeom prst="bentConnector3">
                <a:avLst>
                  <a:gd name="adj1" fmla="val 50000"/>
                </a:avLst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cxnSp>
            <p:nvCxnSpPr>
              <p:cNvPr id="157" name="Shape 52"/>
              <p:cNvCxnSpPr>
                <a:stCxn id="150" idx="0"/>
                <a:endCxn id="172" idx="2"/>
              </p:cNvCxnSpPr>
              <p:nvPr/>
            </p:nvCxnSpPr>
            <p:spPr>
              <a:xfrm rot="5400000" flipH="1" flipV="1">
                <a:off x="6569494" y="4000096"/>
                <a:ext cx="925612" cy="1943"/>
              </a:xfrm>
              <a:prstGeom prst="bentConnector3">
                <a:avLst>
                  <a:gd name="adj1" fmla="val 50000"/>
                </a:avLst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pic>
            <p:nvPicPr>
              <p:cNvPr id="158" name="Picture 2" descr="C:\Users\Thanida\Desktop\Wqrk\Untitled-1.gif"/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srgbClr val="EA157A">
                    <a:shade val="45000"/>
                    <a:satMod val="135000"/>
                  </a:srgb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2367435" y="4170691"/>
                <a:ext cx="903630" cy="569109"/>
              </a:xfrm>
              <a:prstGeom prst="rect">
                <a:avLst/>
              </a:prstGeom>
              <a:noFill/>
            </p:spPr>
          </p:pic>
          <p:sp>
            <p:nvSpPr>
              <p:cNvPr id="159" name="TextBox 158"/>
              <p:cNvSpPr txBox="1"/>
              <p:nvPr/>
            </p:nvSpPr>
            <p:spPr>
              <a:xfrm>
                <a:off x="5943087" y="4058593"/>
                <a:ext cx="641522" cy="2462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j-lt"/>
                    <a:cs typeface="Cordia New" pitchFamily="34" charset="-34"/>
                  </a:rPr>
                  <a:t>Control</a:t>
                </a:r>
              </a:p>
            </p:txBody>
          </p:sp>
          <p:sp>
            <p:nvSpPr>
              <p:cNvPr id="160" name="Oval 159"/>
              <p:cNvSpPr/>
              <p:nvPr/>
            </p:nvSpPr>
            <p:spPr>
              <a:xfrm>
                <a:off x="5398968" y="4758421"/>
                <a:ext cx="1165974" cy="758811"/>
              </a:xfrm>
              <a:prstGeom prst="ellipse">
                <a:avLst/>
              </a:prstGeom>
              <a:gradFill flip="none" rotWithShape="1">
                <a:gsLst>
                  <a:gs pos="0">
                    <a:srgbClr val="66FF66">
                      <a:alpha val="91000"/>
                    </a:srgbClr>
                  </a:gs>
                  <a:gs pos="60000">
                    <a:srgbClr val="7FD13B">
                      <a:tint val="37000"/>
                      <a:satMod val="300000"/>
                      <a:alpha val="59000"/>
                    </a:srgbClr>
                  </a:gs>
                  <a:gs pos="100000">
                    <a:srgbClr val="7FD13B">
                      <a:tint val="15000"/>
                      <a:satMod val="35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solidFill>
                  <a:srgbClr val="4E5B6F">
                    <a:lumMod val="20000"/>
                    <a:lumOff val="80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cxnSp>
            <p:nvCxnSpPr>
              <p:cNvPr id="161" name="Shape 43"/>
              <p:cNvCxnSpPr>
                <a:stCxn id="163" idx="3"/>
                <a:endCxn id="150" idx="2"/>
              </p:cNvCxnSpPr>
              <p:nvPr/>
            </p:nvCxnSpPr>
            <p:spPr>
              <a:xfrm flipV="1">
                <a:off x="6535791" y="4946748"/>
                <a:ext cx="495538" cy="168124"/>
              </a:xfrm>
              <a:prstGeom prst="bentConnector2">
                <a:avLst/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grpSp>
            <p:nvGrpSpPr>
              <p:cNvPr id="162" name="Group 161"/>
              <p:cNvGrpSpPr/>
              <p:nvPr/>
            </p:nvGrpSpPr>
            <p:grpSpPr>
              <a:xfrm>
                <a:off x="6077174" y="4974406"/>
                <a:ext cx="536348" cy="280928"/>
                <a:chOff x="8161020" y="5082833"/>
                <a:chExt cx="525780" cy="310320"/>
              </a:xfrm>
            </p:grpSpPr>
            <p:sp>
              <p:nvSpPr>
                <p:cNvPr id="163" name="Rounded Rectangle 162"/>
                <p:cNvSpPr/>
                <p:nvPr/>
              </p:nvSpPr>
              <p:spPr>
                <a:xfrm>
                  <a:off x="8237220" y="5125151"/>
                  <a:ext cx="373380" cy="225687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7FD13B">
                        <a:tint val="50000"/>
                        <a:satMod val="300000"/>
                      </a:srgbClr>
                    </a:gs>
                    <a:gs pos="35000">
                      <a:srgbClr val="7FD13B">
                        <a:tint val="37000"/>
                        <a:satMod val="300000"/>
                      </a:srgbClr>
                    </a:gs>
                    <a:gs pos="100000">
                      <a:srgbClr val="7FD13B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ln w="9525" cap="flat" cmpd="sng" algn="ctr">
                  <a:solidFill>
                    <a:srgbClr val="7FD13B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ordia New" pitchFamily="34" charset="-34"/>
                    <a:ea typeface="+mn-ea"/>
                    <a:cs typeface="Cordia New" pitchFamily="34" charset="-34"/>
                  </a:endParaRPr>
                </a:p>
              </p:txBody>
            </p:sp>
            <p:sp>
              <p:nvSpPr>
                <p:cNvPr id="164" name="Rounded Rectangle 163"/>
                <p:cNvSpPr/>
                <p:nvPr/>
              </p:nvSpPr>
              <p:spPr>
                <a:xfrm>
                  <a:off x="8161020" y="5082833"/>
                  <a:ext cx="525780" cy="310320"/>
                </a:xfrm>
                <a:prstGeom prst="roundRect">
                  <a:avLst/>
                </a:prstGeom>
                <a:noFill/>
                <a:ln w="9525" cap="flat" cmpd="sng" algn="ctr">
                  <a:noFill/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ordia New" pitchFamily="34" charset="-34"/>
                      <a:ea typeface="+mn-ea"/>
                      <a:cs typeface="Cordia New" pitchFamily="34" charset="-34"/>
                    </a:rPr>
                    <a:t>SAM</a:t>
                  </a:r>
                </a:p>
              </p:txBody>
            </p:sp>
          </p:grpSp>
          <p:pic>
            <p:nvPicPr>
              <p:cNvPr id="166" name="Picture 2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58714" y="4854372"/>
                <a:ext cx="397703" cy="5546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68" name="Rounded Rectangle 167"/>
              <p:cNvSpPr/>
              <p:nvPr/>
            </p:nvSpPr>
            <p:spPr>
              <a:xfrm rot="20058642">
                <a:off x="5515685" y="5045576"/>
                <a:ext cx="495359" cy="259854"/>
              </a:xfrm>
              <a:prstGeom prst="roundRect">
                <a:avLst/>
              </a:prstGeom>
              <a:gradFill rotWithShape="1">
                <a:gsLst>
                  <a:gs pos="0">
                    <a:srgbClr val="00ADDC">
                      <a:tint val="50000"/>
                      <a:satMod val="300000"/>
                    </a:srgbClr>
                  </a:gs>
                  <a:gs pos="35000">
                    <a:srgbClr val="00ADDC">
                      <a:tint val="37000"/>
                      <a:satMod val="300000"/>
                    </a:srgbClr>
                  </a:gs>
                  <a:gs pos="100000">
                    <a:srgbClr val="00ADDC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00ADDC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ordia New" pitchFamily="34" charset="-34"/>
                    <a:ea typeface="+mn-ea"/>
                    <a:cs typeface="Cordia New" pitchFamily="34" charset="-34"/>
                  </a:rPr>
                  <a:t>NC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sp>
            <p:nvSpPr>
              <p:cNvPr id="169" name="Rounded Rectangle 168"/>
              <p:cNvSpPr/>
              <p:nvPr/>
            </p:nvSpPr>
            <p:spPr>
              <a:xfrm>
                <a:off x="6130987" y="2156468"/>
                <a:ext cx="1796477" cy="482881"/>
              </a:xfrm>
              <a:prstGeom prst="roundRect">
                <a:avLst/>
              </a:prstGeom>
              <a:gradFill rotWithShape="1">
                <a:gsLst>
                  <a:gs pos="0">
                    <a:srgbClr val="7FD13B">
                      <a:tint val="50000"/>
                      <a:satMod val="300000"/>
                    </a:srgbClr>
                  </a:gs>
                  <a:gs pos="35000">
                    <a:srgbClr val="7FD13B">
                      <a:tint val="37000"/>
                      <a:satMod val="300000"/>
                    </a:srgbClr>
                  </a:gs>
                  <a:gs pos="100000">
                    <a:srgbClr val="7FD13B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7FD13B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+mj-lt"/>
                    <a:ea typeface="+mn-ea"/>
                    <a:cs typeface="Cordia New" pitchFamily="34" charset="-34"/>
                  </a:rPr>
                  <a:t>NEW EXAT CCS</a:t>
                </a:r>
              </a:p>
            </p:txBody>
          </p:sp>
          <p:cxnSp>
            <p:nvCxnSpPr>
              <p:cNvPr id="170" name="Shape 50"/>
              <p:cNvCxnSpPr>
                <a:stCxn id="169" idx="0"/>
                <a:endCxn id="155" idx="2"/>
              </p:cNvCxnSpPr>
              <p:nvPr/>
            </p:nvCxnSpPr>
            <p:spPr>
              <a:xfrm rot="16200000" flipV="1">
                <a:off x="6022570" y="1149809"/>
                <a:ext cx="538512" cy="1474794"/>
              </a:xfrm>
              <a:prstGeom prst="bentConnector3">
                <a:avLst>
                  <a:gd name="adj1" fmla="val 50000"/>
                </a:avLst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sp>
            <p:nvSpPr>
              <p:cNvPr id="171" name="Rounded Rectangle 170"/>
              <p:cNvSpPr/>
              <p:nvPr/>
            </p:nvSpPr>
            <p:spPr>
              <a:xfrm>
                <a:off x="3470722" y="3055375"/>
                <a:ext cx="1377793" cy="482880"/>
              </a:xfrm>
              <a:prstGeom prst="roundRect">
                <a:avLst/>
              </a:prstGeom>
              <a:gradFill rotWithShape="1">
                <a:gsLst>
                  <a:gs pos="0">
                    <a:srgbClr val="FEB80A">
                      <a:tint val="50000"/>
                      <a:satMod val="300000"/>
                    </a:srgbClr>
                  </a:gs>
                  <a:gs pos="35000">
                    <a:srgbClr val="FEB80A">
                      <a:tint val="37000"/>
                      <a:satMod val="300000"/>
                    </a:srgbClr>
                  </a:gs>
                  <a:gs pos="100000">
                    <a:srgbClr val="FEB80A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FEB80A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th-TH" sz="1800" b="1" kern="0" dirty="0" smtClean="0">
                    <a:solidFill>
                      <a:prstClr val="black"/>
                    </a:solidFill>
                    <a:latin typeface="Cordia New" pitchFamily="34" charset="-34"/>
                    <a:cs typeface="Cordia New" pitchFamily="34" charset="-34"/>
                  </a:rPr>
                  <a:t>ช่องเก็บเงิน</a:t>
                </a:r>
                <a:r>
                  <a: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Cordia New" pitchFamily="34" charset="-34"/>
                    <a:ea typeface="+mn-ea"/>
                    <a:cs typeface="Cordia New" pitchFamily="34" charset="-34"/>
                  </a:rPr>
                  <a:t>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+mj-lt"/>
                    <a:ea typeface="+mn-ea"/>
                    <a:cs typeface="Cordia New" pitchFamily="34" charset="-34"/>
                  </a:rPr>
                  <a:t>SC</a:t>
                </a:r>
              </a:p>
            </p:txBody>
          </p:sp>
          <p:sp>
            <p:nvSpPr>
              <p:cNvPr id="172" name="Rounded Rectangle 171"/>
              <p:cNvSpPr/>
              <p:nvPr/>
            </p:nvSpPr>
            <p:spPr>
              <a:xfrm>
                <a:off x="6135037" y="3055381"/>
                <a:ext cx="1796477" cy="482881"/>
              </a:xfrm>
              <a:prstGeom prst="roundRect">
                <a:avLst/>
              </a:prstGeom>
              <a:gradFill rotWithShape="1">
                <a:gsLst>
                  <a:gs pos="0">
                    <a:srgbClr val="7FD13B">
                      <a:tint val="50000"/>
                      <a:satMod val="300000"/>
                    </a:srgbClr>
                  </a:gs>
                  <a:gs pos="35000">
                    <a:srgbClr val="7FD13B">
                      <a:tint val="37000"/>
                      <a:satMod val="300000"/>
                    </a:srgbClr>
                  </a:gs>
                  <a:gs pos="100000">
                    <a:srgbClr val="7FD13B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7FD13B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h-TH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Cordia New" pitchFamily="34" charset="-34"/>
                    <a:ea typeface="+mn-ea"/>
                    <a:cs typeface="Cordia New" pitchFamily="34" charset="-34"/>
                  </a:rPr>
                  <a:t>ช่องเก็บเงินใหม่ </a:t>
                </a:r>
                <a:r>
                  <a:rPr kumimoji="0" 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+mj-lt"/>
                    <a:ea typeface="+mn-ea"/>
                    <a:cs typeface="Cordia New" pitchFamily="34" charset="-34"/>
                  </a:rPr>
                  <a:t>SC</a:t>
                </a:r>
                <a:endPara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+mj-lt"/>
                  <a:ea typeface="+mn-ea"/>
                  <a:cs typeface="Cordia New" pitchFamily="34" charset="-34"/>
                </a:endParaRPr>
              </a:p>
            </p:txBody>
          </p:sp>
          <p:cxnSp>
            <p:nvCxnSpPr>
              <p:cNvPr id="173" name="Shape 50"/>
              <p:cNvCxnSpPr>
                <a:stCxn id="171" idx="0"/>
                <a:endCxn id="154" idx="2"/>
              </p:cNvCxnSpPr>
              <p:nvPr/>
            </p:nvCxnSpPr>
            <p:spPr>
              <a:xfrm rot="5400000" flipH="1" flipV="1">
                <a:off x="3951599" y="2847365"/>
                <a:ext cx="416034" cy="1"/>
              </a:xfrm>
              <a:prstGeom prst="bentConnector3">
                <a:avLst>
                  <a:gd name="adj1" fmla="val 50000"/>
                </a:avLst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cxnSp>
            <p:nvCxnSpPr>
              <p:cNvPr id="174" name="Shape 50"/>
              <p:cNvCxnSpPr>
                <a:stCxn id="172" idx="0"/>
                <a:endCxn id="169" idx="2"/>
              </p:cNvCxnSpPr>
              <p:nvPr/>
            </p:nvCxnSpPr>
            <p:spPr>
              <a:xfrm flipH="1" flipV="1">
                <a:off x="7029223" y="2639343"/>
                <a:ext cx="4050" cy="416032"/>
              </a:xfrm>
              <a:prstGeom prst="straightConnector1">
                <a:avLst/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cxnSp>
            <p:nvCxnSpPr>
              <p:cNvPr id="5" name="Straight Arrow Connector 4"/>
              <p:cNvCxnSpPr/>
              <p:nvPr/>
            </p:nvCxnSpPr>
            <p:spPr bwMode="auto">
              <a:xfrm>
                <a:off x="5004051" y="2397902"/>
                <a:ext cx="854663" cy="0"/>
              </a:xfrm>
              <a:prstGeom prst="straightConnector1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triangle"/>
                <a:tailEnd type="triangle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136409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07838" y="309831"/>
            <a:ext cx="9376733" cy="670899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th-TH" sz="2400" dirty="0" smtClean="0">
                <a:latin typeface="Cordia New" pitchFamily="34" charset="-34"/>
                <a:cs typeface="Cordia New" pitchFamily="34" charset="-34"/>
              </a:rPr>
              <a:t>แนวทางใน</a:t>
            </a:r>
            <a:r>
              <a:rPr lang="th-TH" sz="2400" dirty="0">
                <a:latin typeface="Cordia New" pitchFamily="34" charset="-34"/>
                <a:cs typeface="Cordia New" pitchFamily="34" charset="-34"/>
              </a:rPr>
              <a:t>การดำเนินการพัฒนาระบบรถโดยสาร</a:t>
            </a:r>
            <a:r>
              <a:rPr lang="th-TH" sz="2400" dirty="0" smtClean="0">
                <a:latin typeface="Cordia New" pitchFamily="34" charset="-34"/>
                <a:cs typeface="Cordia New" pitchFamily="34" charset="-34"/>
              </a:rPr>
              <a:t>สาธารณะ</a:t>
            </a:r>
            <a:endParaRPr lang="th-TH" sz="2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3" name="Rounded Rectangle 62"/>
          <p:cNvSpPr/>
          <p:nvPr/>
        </p:nvSpPr>
        <p:spPr>
          <a:xfrm>
            <a:off x="6899189" y="1219200"/>
            <a:ext cx="1688866" cy="517784"/>
          </a:xfrm>
          <a:prstGeom prst="roundRect">
            <a:avLst/>
          </a:prstGeom>
          <a:gradFill rotWithShape="1">
            <a:gsLst>
              <a:gs pos="0">
                <a:srgbClr val="7FD13B">
                  <a:tint val="50000"/>
                  <a:satMod val="300000"/>
                </a:srgbClr>
              </a:gs>
              <a:gs pos="35000">
                <a:srgbClr val="7FD13B">
                  <a:tint val="37000"/>
                  <a:satMod val="300000"/>
                </a:srgbClr>
              </a:gs>
              <a:gs pos="100000">
                <a:srgbClr val="7FD13B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7FD13B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r>
              <a:rPr lang="en-US" sz="1400" b="1" kern="0" dirty="0" smtClean="0">
                <a:solidFill>
                  <a:prstClr val="black"/>
                </a:solidFill>
                <a:latin typeface="Calibri"/>
              </a:rPr>
              <a:t>CCHS</a:t>
            </a:r>
            <a:endParaRPr lang="en-US" sz="1400" b="1" kern="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64" name="Group 63"/>
          <p:cNvGrpSpPr/>
          <p:nvPr/>
        </p:nvGrpSpPr>
        <p:grpSpPr>
          <a:xfrm>
            <a:off x="6774939" y="3101505"/>
            <a:ext cx="1416331" cy="2254145"/>
            <a:chOff x="7000717" y="3045406"/>
            <a:chExt cx="1533683" cy="2669594"/>
          </a:xfrm>
        </p:grpSpPr>
        <p:sp>
          <p:nvSpPr>
            <p:cNvPr id="65" name="Rounded Rectangle 64"/>
            <p:cNvSpPr/>
            <p:nvPr/>
          </p:nvSpPr>
          <p:spPr>
            <a:xfrm>
              <a:off x="7000717" y="3045406"/>
              <a:ext cx="1533683" cy="2669594"/>
            </a:xfrm>
            <a:prstGeom prst="roundRect">
              <a:avLst/>
            </a:prstGeom>
            <a:solidFill>
              <a:srgbClr val="FEB80A">
                <a:lumMod val="60000"/>
                <a:lumOff val="40000"/>
              </a:srgbClr>
            </a:solidFill>
            <a:ln w="9525" cap="flat" cmpd="sng" algn="ctr">
              <a:solidFill>
                <a:srgbClr val="FEB80A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sz="1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6" name="Rounded Rectangle 65"/>
            <p:cNvSpPr/>
            <p:nvPr/>
          </p:nvSpPr>
          <p:spPr>
            <a:xfrm>
              <a:off x="7210123" y="3173409"/>
              <a:ext cx="1033909" cy="715725"/>
            </a:xfrm>
            <a:prstGeom prst="roundRect">
              <a:avLst/>
            </a:prstGeom>
            <a:gradFill rotWithShape="1">
              <a:gsLst>
                <a:gs pos="0">
                  <a:srgbClr val="FEB80A">
                    <a:tint val="50000"/>
                    <a:satMod val="300000"/>
                  </a:srgbClr>
                </a:gs>
                <a:gs pos="35000">
                  <a:srgbClr val="FEB80A">
                    <a:tint val="37000"/>
                    <a:satMod val="300000"/>
                  </a:srgbClr>
                </a:gs>
                <a:gs pos="100000">
                  <a:srgbClr val="FEB80A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EB80A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200" b="1" kern="0" dirty="0">
                  <a:solidFill>
                    <a:prstClr val="black"/>
                  </a:solidFill>
                  <a:latin typeface="Calibri"/>
                </a:rPr>
                <a:t>Data</a:t>
              </a:r>
              <a:r>
                <a:rPr lang="en-US" b="1" kern="0" dirty="0">
                  <a:solidFill>
                    <a:prstClr val="black"/>
                  </a:solidFill>
                  <a:latin typeface="Calibri"/>
                </a:rPr>
                <a:t> </a:t>
              </a:r>
              <a:r>
                <a:rPr lang="en-US" sz="1200" b="1" kern="0" dirty="0">
                  <a:solidFill>
                    <a:prstClr val="black"/>
                  </a:solidFill>
                  <a:latin typeface="Calibri"/>
                </a:rPr>
                <a:t>Collector</a:t>
              </a:r>
              <a:endParaRPr lang="en-US" b="1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7133183" y="4058659"/>
              <a:ext cx="1309157" cy="40496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>
                <a:defRPr/>
              </a:pPr>
              <a:r>
                <a:rPr lang="en-US" sz="1600" b="1" kern="0" dirty="0">
                  <a:ln w="1905"/>
                  <a:solidFill>
                    <a:srgbClr val="0000FF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Bus Depot</a:t>
              </a:r>
            </a:p>
          </p:txBody>
        </p:sp>
        <p:pic>
          <p:nvPicPr>
            <p:cNvPr id="68" name="Picture 3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4638" y="4549937"/>
              <a:ext cx="1117599" cy="8382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69" name="Rounded Rectangle 68"/>
          <p:cNvSpPr/>
          <p:nvPr/>
        </p:nvSpPr>
        <p:spPr>
          <a:xfrm>
            <a:off x="6895851" y="2117984"/>
            <a:ext cx="1688866" cy="542604"/>
          </a:xfrm>
          <a:prstGeom prst="roundRect">
            <a:avLst/>
          </a:prstGeom>
          <a:gradFill rotWithShape="1">
            <a:gsLst>
              <a:gs pos="0">
                <a:srgbClr val="FEB80A">
                  <a:tint val="50000"/>
                  <a:satMod val="300000"/>
                </a:srgbClr>
              </a:gs>
              <a:gs pos="35000">
                <a:srgbClr val="FEB80A">
                  <a:tint val="37000"/>
                  <a:satMod val="300000"/>
                </a:srgbClr>
              </a:gs>
              <a:gs pos="100000">
                <a:srgbClr val="FEB80A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EB80A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r>
              <a:rPr lang="en-US" sz="1400" b="1" kern="0" dirty="0">
                <a:solidFill>
                  <a:prstClr val="black"/>
                </a:solidFill>
                <a:latin typeface="Calibri"/>
              </a:rPr>
              <a:t>Data Concentrator</a:t>
            </a:r>
          </a:p>
        </p:txBody>
      </p:sp>
      <p:grpSp>
        <p:nvGrpSpPr>
          <p:cNvPr id="70" name="Group 69"/>
          <p:cNvGrpSpPr/>
          <p:nvPr/>
        </p:nvGrpSpPr>
        <p:grpSpPr>
          <a:xfrm>
            <a:off x="7065359" y="3361061"/>
            <a:ext cx="1416331" cy="2254145"/>
            <a:chOff x="7000717" y="3045406"/>
            <a:chExt cx="1533683" cy="2669594"/>
          </a:xfrm>
        </p:grpSpPr>
        <p:sp>
          <p:nvSpPr>
            <p:cNvPr id="72" name="Rounded Rectangle 71"/>
            <p:cNvSpPr/>
            <p:nvPr/>
          </p:nvSpPr>
          <p:spPr>
            <a:xfrm>
              <a:off x="7000717" y="3045406"/>
              <a:ext cx="1533683" cy="2669594"/>
            </a:xfrm>
            <a:prstGeom prst="roundRect">
              <a:avLst/>
            </a:prstGeom>
            <a:solidFill>
              <a:srgbClr val="FEB80A">
                <a:lumMod val="60000"/>
                <a:lumOff val="40000"/>
              </a:srgbClr>
            </a:solidFill>
            <a:ln w="9525" cap="flat" cmpd="sng" algn="ctr">
              <a:solidFill>
                <a:srgbClr val="FEB80A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sz="1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7210123" y="3173409"/>
              <a:ext cx="1033909" cy="715725"/>
            </a:xfrm>
            <a:prstGeom prst="roundRect">
              <a:avLst/>
            </a:prstGeom>
            <a:gradFill rotWithShape="1">
              <a:gsLst>
                <a:gs pos="0">
                  <a:srgbClr val="FEB80A">
                    <a:tint val="50000"/>
                    <a:satMod val="300000"/>
                  </a:srgbClr>
                </a:gs>
                <a:gs pos="35000">
                  <a:srgbClr val="FEB80A">
                    <a:tint val="37000"/>
                    <a:satMod val="300000"/>
                  </a:srgbClr>
                </a:gs>
                <a:gs pos="100000">
                  <a:srgbClr val="FEB80A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EB80A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200" b="1" kern="0" dirty="0">
                  <a:solidFill>
                    <a:prstClr val="black"/>
                  </a:solidFill>
                  <a:latin typeface="Calibri"/>
                </a:rPr>
                <a:t>Data</a:t>
              </a:r>
              <a:r>
                <a:rPr lang="en-US" b="1" kern="0" dirty="0">
                  <a:solidFill>
                    <a:prstClr val="black"/>
                  </a:solidFill>
                  <a:latin typeface="Calibri"/>
                </a:rPr>
                <a:t> </a:t>
              </a:r>
              <a:r>
                <a:rPr lang="en-US" sz="1200" b="1" kern="0" dirty="0">
                  <a:solidFill>
                    <a:prstClr val="black"/>
                  </a:solidFill>
                  <a:latin typeface="Calibri"/>
                </a:rPr>
                <a:t>Collector</a:t>
              </a:r>
              <a:endParaRPr lang="en-US" b="1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7133183" y="4058659"/>
              <a:ext cx="1309157" cy="40496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>
                <a:defRPr/>
              </a:pPr>
              <a:r>
                <a:rPr lang="en-US" sz="1600" b="1" kern="0" dirty="0">
                  <a:ln w="1905"/>
                  <a:solidFill>
                    <a:srgbClr val="0000FF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Bus Depot</a:t>
              </a:r>
            </a:p>
          </p:txBody>
        </p:sp>
        <p:pic>
          <p:nvPicPr>
            <p:cNvPr id="82" name="Picture 3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4638" y="4549937"/>
              <a:ext cx="1117599" cy="838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3" name="Group 82"/>
          <p:cNvGrpSpPr/>
          <p:nvPr/>
        </p:nvGrpSpPr>
        <p:grpSpPr>
          <a:xfrm>
            <a:off x="7337894" y="3616237"/>
            <a:ext cx="1416331" cy="2254145"/>
            <a:chOff x="7000717" y="3045406"/>
            <a:chExt cx="1533683" cy="2669594"/>
          </a:xfrm>
        </p:grpSpPr>
        <p:sp>
          <p:nvSpPr>
            <p:cNvPr id="84" name="Rounded Rectangle 83"/>
            <p:cNvSpPr/>
            <p:nvPr/>
          </p:nvSpPr>
          <p:spPr>
            <a:xfrm>
              <a:off x="7000717" y="3045406"/>
              <a:ext cx="1533683" cy="2669594"/>
            </a:xfrm>
            <a:prstGeom prst="roundRect">
              <a:avLst/>
            </a:prstGeom>
            <a:solidFill>
              <a:srgbClr val="FEB80A">
                <a:lumMod val="60000"/>
                <a:lumOff val="40000"/>
              </a:srgbClr>
            </a:solidFill>
            <a:ln w="9525" cap="flat" cmpd="sng" algn="ctr">
              <a:solidFill>
                <a:srgbClr val="FEB80A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sz="1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5" name="Rounded Rectangle 84"/>
            <p:cNvSpPr/>
            <p:nvPr/>
          </p:nvSpPr>
          <p:spPr>
            <a:xfrm>
              <a:off x="7210123" y="3173409"/>
              <a:ext cx="1033909" cy="715725"/>
            </a:xfrm>
            <a:prstGeom prst="roundRect">
              <a:avLst/>
            </a:prstGeom>
            <a:gradFill rotWithShape="1">
              <a:gsLst>
                <a:gs pos="0">
                  <a:srgbClr val="FEB80A">
                    <a:tint val="50000"/>
                    <a:satMod val="300000"/>
                  </a:srgbClr>
                </a:gs>
                <a:gs pos="35000">
                  <a:srgbClr val="FEB80A">
                    <a:tint val="37000"/>
                    <a:satMod val="300000"/>
                  </a:srgbClr>
                </a:gs>
                <a:gs pos="100000">
                  <a:srgbClr val="FEB80A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EB80A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r>
                <a:rPr lang="en-US" sz="1200" b="1" kern="0" dirty="0" smtClean="0">
                  <a:solidFill>
                    <a:prstClr val="black"/>
                  </a:solidFill>
                  <a:latin typeface="Calibri"/>
                </a:rPr>
                <a:t>Data Collector</a:t>
              </a:r>
              <a:endParaRPr lang="en-US" sz="1200" b="1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7162261" y="4058659"/>
              <a:ext cx="1309157" cy="40496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>
                <a:defRPr/>
              </a:pPr>
              <a:r>
                <a:rPr lang="en-US" sz="1600" b="1" kern="0" dirty="0">
                  <a:ln w="1905"/>
                  <a:solidFill>
                    <a:srgbClr val="0000FF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Bus Depot</a:t>
              </a:r>
            </a:p>
          </p:txBody>
        </p:sp>
        <p:pic>
          <p:nvPicPr>
            <p:cNvPr id="87" name="Picture 3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9000" y="4549937"/>
              <a:ext cx="1117599" cy="838200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91" name="Elbow Connector 90"/>
          <p:cNvCxnSpPr>
            <a:stCxn id="66" idx="0"/>
            <a:endCxn id="69" idx="2"/>
          </p:cNvCxnSpPr>
          <p:nvPr/>
        </p:nvCxnSpPr>
        <p:spPr>
          <a:xfrm rot="5400000" flipH="1" flipV="1">
            <a:off x="7318502" y="2787807"/>
            <a:ext cx="549000" cy="294563"/>
          </a:xfrm>
          <a:prstGeom prst="bentConnector3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94" name="Elbow Connector 93"/>
          <p:cNvCxnSpPr>
            <a:stCxn id="75" idx="0"/>
            <a:endCxn id="69" idx="2"/>
          </p:cNvCxnSpPr>
          <p:nvPr/>
        </p:nvCxnSpPr>
        <p:spPr>
          <a:xfrm rot="5400000" flipH="1" flipV="1">
            <a:off x="7333934" y="3062795"/>
            <a:ext cx="808556" cy="4143"/>
          </a:xfrm>
          <a:prstGeom prst="bentConnector3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96" name="Elbow Connector 95"/>
          <p:cNvCxnSpPr>
            <a:stCxn id="85" idx="0"/>
            <a:endCxn id="69" idx="2"/>
          </p:cNvCxnSpPr>
          <p:nvPr/>
        </p:nvCxnSpPr>
        <p:spPr>
          <a:xfrm rot="16200000" flipV="1">
            <a:off x="7342614" y="3058258"/>
            <a:ext cx="1063732" cy="26839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97" name="Elbow Connector 96"/>
          <p:cNvCxnSpPr>
            <a:stCxn id="69" idx="0"/>
            <a:endCxn id="63" idx="2"/>
          </p:cNvCxnSpPr>
          <p:nvPr/>
        </p:nvCxnSpPr>
        <p:spPr>
          <a:xfrm rot="5400000" flipH="1" flipV="1">
            <a:off x="7551453" y="1925815"/>
            <a:ext cx="381000" cy="3338"/>
          </a:xfrm>
          <a:prstGeom prst="bentConnector3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</p:cxnSp>
      <p:grpSp>
        <p:nvGrpSpPr>
          <p:cNvPr id="98" name="Group 97"/>
          <p:cNvGrpSpPr/>
          <p:nvPr/>
        </p:nvGrpSpPr>
        <p:grpSpPr>
          <a:xfrm>
            <a:off x="152400" y="1447800"/>
            <a:ext cx="6734501" cy="4791808"/>
            <a:chOff x="107504" y="1380392"/>
            <a:chExt cx="6734501" cy="4791808"/>
          </a:xfrm>
        </p:grpSpPr>
        <p:sp>
          <p:nvSpPr>
            <p:cNvPr id="99" name="Rounded Rectangle 98"/>
            <p:cNvSpPr/>
            <p:nvPr/>
          </p:nvSpPr>
          <p:spPr>
            <a:xfrm>
              <a:off x="638651" y="1380392"/>
              <a:ext cx="3230016" cy="1145213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F3300"/>
              </a:solidFill>
              <a:prstDash val="dash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200" kern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100" name="Picture 99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949" y="2588963"/>
              <a:ext cx="4402488" cy="16474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1" name="Picture 100" descr="C:\Users\Thanida\Desktop\Wqrk\Untitled-1.gif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harpenSoften amount="50000"/>
                      </a14:imgEffect>
                      <a14:imgEffect>
                        <a14:colorTemperature colorTemp="8125"/>
                      </a14:imgEffect>
                      <a14:imgEffect>
                        <a14:saturation sat="15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 rot="15619665">
              <a:off x="5878509" y="3856295"/>
              <a:ext cx="747971" cy="660952"/>
            </a:xfrm>
            <a:prstGeom prst="rect">
              <a:avLst/>
            </a:prstGeom>
            <a:noFill/>
          </p:spPr>
        </p:pic>
        <p:sp>
          <p:nvSpPr>
            <p:cNvPr id="102" name="TextBox 101"/>
            <p:cNvSpPr txBox="1"/>
            <p:nvPr/>
          </p:nvSpPr>
          <p:spPr>
            <a:xfrm>
              <a:off x="4592084" y="4764026"/>
              <a:ext cx="1136255" cy="4818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1100" kern="0" dirty="0">
                  <a:solidFill>
                    <a:prstClr val="black"/>
                  </a:solidFill>
                </a:rPr>
                <a:t>Access Point</a:t>
              </a:r>
            </a:p>
            <a:p>
              <a:pPr algn="ctr">
                <a:defRPr/>
              </a:pPr>
              <a:endParaRPr lang="en-US" sz="1400" kern="0" dirty="0">
                <a:solidFill>
                  <a:prstClr val="black"/>
                </a:solidFill>
              </a:endParaRPr>
            </a:p>
          </p:txBody>
        </p:sp>
        <p:pic>
          <p:nvPicPr>
            <p:cNvPr id="103" name="Picture 102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0083" y="2184743"/>
              <a:ext cx="597750" cy="7259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4" name="Picture 103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793007">
              <a:off x="5887784" y="2348016"/>
              <a:ext cx="650479" cy="12579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5" name="Picture 104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2359" y="4156416"/>
              <a:ext cx="697830" cy="5817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6" name="TextBox 105"/>
            <p:cNvSpPr txBox="1"/>
            <p:nvPr/>
          </p:nvSpPr>
          <p:spPr>
            <a:xfrm>
              <a:off x="4315778" y="3784033"/>
              <a:ext cx="1897244" cy="2642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sz="1100" kern="0" dirty="0">
                  <a:solidFill>
                    <a:prstClr val="black"/>
                  </a:solidFill>
                </a:rPr>
                <a:t>Bus Driver Console (BDC)</a:t>
              </a:r>
              <a:endParaRPr lang="en-US" sz="1400" kern="0" dirty="0">
                <a:solidFill>
                  <a:prstClr val="black"/>
                </a:solidFill>
              </a:endParaRPr>
            </a:p>
          </p:txBody>
        </p:sp>
        <p:pic>
          <p:nvPicPr>
            <p:cNvPr id="107" name="Picture 106"/>
            <p:cNvPicPr>
              <a:picLocks noChangeAspect="1" noChangeArrowheads="1"/>
            </p:cNvPicPr>
            <p:nvPr/>
          </p:nvPicPr>
          <p:blipFill>
            <a:blip r:embed="rId16" cstate="print">
              <a:duotone>
                <a:srgbClr val="7FD13B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200" y="3197161"/>
              <a:ext cx="180322" cy="1755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8" name="Rectangle 107"/>
            <p:cNvSpPr/>
            <p:nvPr/>
          </p:nvSpPr>
          <p:spPr>
            <a:xfrm>
              <a:off x="4315778" y="1809293"/>
              <a:ext cx="1688866" cy="43519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</a:rPr>
                <a:t>Cellular Network</a:t>
              </a:r>
            </a:p>
            <a:p>
              <a:pPr algn="ctr">
                <a:defRPr/>
              </a:pPr>
              <a:r>
                <a:rPr lang="en-US" sz="1100" kern="0" dirty="0">
                  <a:solidFill>
                    <a:prstClr val="black"/>
                  </a:solidFill>
                </a:rPr>
                <a:t>GPRS, EDGE, 3G, LTE</a:t>
              </a:r>
            </a:p>
          </p:txBody>
        </p:sp>
        <p:cxnSp>
          <p:nvCxnSpPr>
            <p:cNvPr id="109" name="Straight Connector 108"/>
            <p:cNvCxnSpPr/>
            <p:nvPr/>
          </p:nvCxnSpPr>
          <p:spPr>
            <a:xfrm>
              <a:off x="5189022" y="4006991"/>
              <a:ext cx="0" cy="287926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10" name="Straight Connector 109"/>
            <p:cNvCxnSpPr/>
            <p:nvPr/>
          </p:nvCxnSpPr>
          <p:spPr>
            <a:xfrm>
              <a:off x="5189022" y="2944816"/>
              <a:ext cx="0" cy="180174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pic>
          <p:nvPicPr>
            <p:cNvPr id="111" name="Picture 110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2312" y="2027516"/>
              <a:ext cx="488109" cy="4373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2" name="Rectangle 111"/>
            <p:cNvSpPr/>
            <p:nvPr/>
          </p:nvSpPr>
          <p:spPr>
            <a:xfrm>
              <a:off x="1682673" y="1588814"/>
              <a:ext cx="1998432" cy="59062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600" b="1" kern="0" dirty="0">
                  <a:ln w="1905"/>
                  <a:solidFill>
                    <a:srgbClr val="0000FF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Bus Management</a:t>
              </a:r>
            </a:p>
            <a:p>
              <a:pPr>
                <a:defRPr/>
              </a:pPr>
              <a:r>
                <a:rPr lang="en-US" sz="1600" b="1" kern="0" dirty="0">
                  <a:ln w="1905"/>
                  <a:solidFill>
                    <a:srgbClr val="0000FF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 System (BMS)</a:t>
              </a: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3059832" y="2653304"/>
              <a:ext cx="482824" cy="264226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100" kern="0" dirty="0">
                  <a:solidFill>
                    <a:srgbClr val="003217"/>
                  </a:solidFill>
                </a:rPr>
                <a:t>GPS</a:t>
              </a:r>
            </a:p>
          </p:txBody>
        </p:sp>
        <p:pic>
          <p:nvPicPr>
            <p:cNvPr id="114" name="Picture 113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716031">
              <a:off x="3547148" y="1654674"/>
              <a:ext cx="1441108" cy="10549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5" name="Picture 114" descr="C:\Users\Thanida\Desktop\Wqrk\Untitled-1.gif"/>
            <p:cNvPicPr>
              <a:picLocks noChangeAspect="1" noChangeArrowheads="1"/>
            </p:cNvPicPr>
            <p:nvPr/>
          </p:nvPicPr>
          <p:blipFill>
            <a:blip r:embed="rId19" cstate="print">
              <a:duotone>
                <a:srgbClr val="7FD13B">
                  <a:shade val="45000"/>
                  <a:satMod val="135000"/>
                </a:srgbClr>
                <a:prstClr val="white"/>
              </a:duotone>
              <a:extLst/>
            </a:blip>
            <a:srcRect/>
            <a:stretch>
              <a:fillRect/>
            </a:stretch>
          </p:blipFill>
          <p:spPr bwMode="auto">
            <a:xfrm rot="9834055">
              <a:off x="3542961" y="2680127"/>
              <a:ext cx="472110" cy="306345"/>
            </a:xfrm>
            <a:prstGeom prst="rect">
              <a:avLst/>
            </a:prstGeom>
            <a:noFill/>
          </p:spPr>
        </p:pic>
        <p:pic>
          <p:nvPicPr>
            <p:cNvPr id="116" name="Picture 115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0509" y="1684933"/>
              <a:ext cx="1010826" cy="6166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7" name="Oval 116"/>
            <p:cNvSpPr/>
            <p:nvPr/>
          </p:nvSpPr>
          <p:spPr bwMode="auto">
            <a:xfrm>
              <a:off x="3350932" y="3557923"/>
              <a:ext cx="148674" cy="149532"/>
            </a:xfrm>
            <a:prstGeom prst="ellipse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0"/>
                </a:lnSpc>
              </a:pPr>
              <a:endParaRPr lang="th-TH" sz="1050" dirty="0">
                <a:solidFill>
                  <a:prstClr val="black"/>
                </a:solidFill>
                <a:latin typeface="Cordia New" pitchFamily="34" charset="-34"/>
              </a:endParaRPr>
            </a:p>
          </p:txBody>
        </p:sp>
        <p:sp>
          <p:nvSpPr>
            <p:cNvPr id="118" name="Oval 117"/>
            <p:cNvSpPr/>
            <p:nvPr/>
          </p:nvSpPr>
          <p:spPr bwMode="auto">
            <a:xfrm>
              <a:off x="2344525" y="3336824"/>
              <a:ext cx="148674" cy="149532"/>
            </a:xfrm>
            <a:prstGeom prst="ellipse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0"/>
                </a:lnSpc>
              </a:pPr>
              <a:endParaRPr lang="th-TH" sz="1050" dirty="0">
                <a:solidFill>
                  <a:prstClr val="black"/>
                </a:solidFill>
                <a:latin typeface="Cordia New" pitchFamily="34" charset="-34"/>
              </a:endParaRPr>
            </a:p>
          </p:txBody>
        </p:sp>
        <p:sp>
          <p:nvSpPr>
            <p:cNvPr id="119" name="Oval 118"/>
            <p:cNvSpPr/>
            <p:nvPr/>
          </p:nvSpPr>
          <p:spPr bwMode="auto">
            <a:xfrm>
              <a:off x="1109541" y="3163996"/>
              <a:ext cx="135158" cy="135939"/>
            </a:xfrm>
            <a:prstGeom prst="ellipse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0"/>
                </a:lnSpc>
              </a:pPr>
              <a:endParaRPr lang="th-TH" sz="1050" dirty="0">
                <a:solidFill>
                  <a:prstClr val="black"/>
                </a:solidFill>
                <a:latin typeface="Cordia New" pitchFamily="34" charset="-34"/>
              </a:endParaRPr>
            </a:p>
          </p:txBody>
        </p:sp>
        <p:pic>
          <p:nvPicPr>
            <p:cNvPr id="120" name="Picture 119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5400" y="4538301"/>
              <a:ext cx="891845" cy="1012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1" name="Picture 12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873" y="4538301"/>
              <a:ext cx="891845" cy="1012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22" name="Elbow Connector 121"/>
            <p:cNvCxnSpPr>
              <a:endCxn id="118" idx="4"/>
            </p:cNvCxnSpPr>
            <p:nvPr/>
          </p:nvCxnSpPr>
          <p:spPr bwMode="auto">
            <a:xfrm rot="5400000" flipH="1" flipV="1">
              <a:off x="1061357" y="3180796"/>
              <a:ext cx="1051945" cy="1663066"/>
            </a:xfrm>
            <a:prstGeom prst="bentConnector3">
              <a:avLst>
                <a:gd name="adj1" fmla="val 58149"/>
              </a:avLst>
            </a:prstGeom>
            <a:solidFill>
              <a:srgbClr val="7FD13B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" name="Elbow Connector 122"/>
            <p:cNvCxnSpPr>
              <a:endCxn id="119" idx="4"/>
            </p:cNvCxnSpPr>
            <p:nvPr/>
          </p:nvCxnSpPr>
          <p:spPr bwMode="auto">
            <a:xfrm rot="5400000" flipH="1" flipV="1">
              <a:off x="347275" y="3708456"/>
              <a:ext cx="1238366" cy="421324"/>
            </a:xfrm>
            <a:prstGeom prst="bentConnector3">
              <a:avLst/>
            </a:prstGeom>
            <a:solidFill>
              <a:srgbClr val="7FD13B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" name="Elbow Connector 123"/>
            <p:cNvCxnSpPr>
              <a:endCxn id="117" idx="3"/>
            </p:cNvCxnSpPr>
            <p:nvPr/>
          </p:nvCxnSpPr>
          <p:spPr bwMode="auto">
            <a:xfrm rot="5400000" flipH="1" flipV="1">
              <a:off x="2130642" y="3296238"/>
              <a:ext cx="852744" cy="1631382"/>
            </a:xfrm>
            <a:prstGeom prst="bentConnector3">
              <a:avLst>
                <a:gd name="adj1" fmla="val 50000"/>
              </a:avLst>
            </a:prstGeom>
            <a:solidFill>
              <a:srgbClr val="7FD13B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25" name="Rectangle 124"/>
            <p:cNvSpPr/>
            <p:nvPr/>
          </p:nvSpPr>
          <p:spPr bwMode="auto">
            <a:xfrm>
              <a:off x="1295400" y="5631701"/>
              <a:ext cx="909635" cy="21876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0"/>
                </a:lnSpc>
              </a:pPr>
              <a:r>
                <a:rPr lang="en-US" sz="1200" dirty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rPr>
                <a:t>Entry Reader</a:t>
              </a:r>
              <a:endParaRPr lang="th-TH" sz="1200" dirty="0">
                <a:solidFill>
                  <a:prstClr val="black"/>
                </a:solidFill>
                <a:latin typeface="Cordia New" pitchFamily="34" charset="-34"/>
              </a:endParaRPr>
            </a:p>
          </p:txBody>
        </p:sp>
        <p:sp>
          <p:nvSpPr>
            <p:cNvPr id="126" name="Rectangle 125"/>
            <p:cNvSpPr/>
            <p:nvPr/>
          </p:nvSpPr>
          <p:spPr bwMode="auto">
            <a:xfrm>
              <a:off x="107504" y="5639956"/>
              <a:ext cx="1331798" cy="21876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0"/>
                </a:lnSpc>
              </a:pPr>
              <a:r>
                <a:rPr lang="en-US" sz="1200" dirty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rPr>
                <a:t>Exit Reader</a:t>
              </a:r>
              <a:endParaRPr lang="th-TH" sz="1200" dirty="0">
                <a:solidFill>
                  <a:prstClr val="black"/>
                </a:solidFill>
                <a:latin typeface="Cordia New" pitchFamily="34" charset="-34"/>
              </a:endParaRPr>
            </a:p>
          </p:txBody>
        </p:sp>
        <p:sp>
          <p:nvSpPr>
            <p:cNvPr id="127" name="Oval 126"/>
            <p:cNvSpPr/>
            <p:nvPr/>
          </p:nvSpPr>
          <p:spPr bwMode="auto">
            <a:xfrm>
              <a:off x="3725421" y="3408391"/>
              <a:ext cx="148674" cy="149532"/>
            </a:xfrm>
            <a:prstGeom prst="ellipse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0"/>
                </a:lnSpc>
              </a:pPr>
              <a:endParaRPr lang="th-TH" sz="1050" dirty="0">
                <a:solidFill>
                  <a:prstClr val="black"/>
                </a:solidFill>
                <a:latin typeface="Cordia New" pitchFamily="34" charset="-34"/>
              </a:endParaRPr>
            </a:p>
          </p:txBody>
        </p:sp>
        <p:cxnSp>
          <p:nvCxnSpPr>
            <p:cNvPr id="128" name="Elbow Connector 94"/>
            <p:cNvCxnSpPr>
              <a:endCxn id="127" idx="6"/>
            </p:cNvCxnSpPr>
            <p:nvPr/>
          </p:nvCxnSpPr>
          <p:spPr bwMode="auto">
            <a:xfrm flipH="1" flipV="1">
              <a:off x="3874096" y="3483157"/>
              <a:ext cx="825281" cy="230"/>
            </a:xfrm>
            <a:prstGeom prst="straightConnector1">
              <a:avLst/>
            </a:prstGeom>
            <a:solidFill>
              <a:srgbClr val="7FD13B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29" name="Picture 128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2059" y="3136250"/>
              <a:ext cx="769231" cy="700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0" name="Rectangle 129"/>
            <p:cNvSpPr/>
            <p:nvPr/>
          </p:nvSpPr>
          <p:spPr bwMode="auto">
            <a:xfrm>
              <a:off x="2138365" y="5579533"/>
              <a:ext cx="909635" cy="54607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0"/>
                </a:lnSpc>
              </a:pPr>
              <a:r>
                <a:rPr lang="en-US" sz="1200" dirty="0" smtClean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rPr>
                <a:t>Portable </a:t>
              </a:r>
            </a:p>
            <a:p>
              <a:pPr algn="ctr">
                <a:lnSpc>
                  <a:spcPts val="1700"/>
                </a:lnSpc>
              </a:pPr>
              <a:r>
                <a:rPr lang="en-US" sz="1200" dirty="0" smtClean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rPr>
                <a:t>checker</a:t>
              </a:r>
              <a:endParaRPr lang="th-TH" sz="1200" dirty="0">
                <a:solidFill>
                  <a:prstClr val="black"/>
                </a:solidFill>
                <a:latin typeface="Cordia New" pitchFamily="34" charset="-34"/>
              </a:endParaRPr>
            </a:p>
          </p:txBody>
        </p:sp>
        <p:sp>
          <p:nvSpPr>
            <p:cNvPr id="131" name="Oval 130"/>
            <p:cNvSpPr/>
            <p:nvPr/>
          </p:nvSpPr>
          <p:spPr bwMode="auto">
            <a:xfrm>
              <a:off x="3617114" y="3592217"/>
              <a:ext cx="148674" cy="149532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0"/>
                </a:lnSpc>
              </a:pPr>
              <a:endParaRPr lang="th-TH" sz="1050" dirty="0">
                <a:solidFill>
                  <a:prstClr val="black"/>
                </a:solidFill>
                <a:latin typeface="Cordia New" pitchFamily="34" charset="-34"/>
              </a:endParaRPr>
            </a:p>
          </p:txBody>
        </p:sp>
        <p:cxnSp>
          <p:nvCxnSpPr>
            <p:cNvPr id="132" name="Elbow Connector 131"/>
            <p:cNvCxnSpPr>
              <a:endCxn id="131" idx="4"/>
            </p:cNvCxnSpPr>
            <p:nvPr/>
          </p:nvCxnSpPr>
          <p:spPr bwMode="auto">
            <a:xfrm rot="5400000" flipH="1" flipV="1">
              <a:off x="2656212" y="3565756"/>
              <a:ext cx="859245" cy="1211233"/>
            </a:xfrm>
            <a:prstGeom prst="bentConnector3">
              <a:avLst>
                <a:gd name="adj1" fmla="val 34234"/>
              </a:avLst>
            </a:prstGeom>
            <a:solidFill>
              <a:srgbClr val="7FD13B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3" name="Elbow Connector 132"/>
            <p:cNvCxnSpPr>
              <a:endCxn id="131" idx="4"/>
            </p:cNvCxnSpPr>
            <p:nvPr/>
          </p:nvCxnSpPr>
          <p:spPr bwMode="auto">
            <a:xfrm rot="16200000" flipV="1">
              <a:off x="3562457" y="3870744"/>
              <a:ext cx="830251" cy="572261"/>
            </a:xfrm>
            <a:prstGeom prst="bentConnector3">
              <a:avLst>
                <a:gd name="adj1" fmla="val 31645"/>
              </a:avLst>
            </a:prstGeom>
            <a:solidFill>
              <a:srgbClr val="7FD13B"/>
            </a:solidFill>
            <a:ln w="12700" cap="flat" cmpd="sng" algn="ctr">
              <a:solidFill>
                <a:sysClr val="windowText" lastClr="0000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34" name="Picture 133"/>
            <p:cNvPicPr>
              <a:picLocks noChangeAspect="1" noChangeArrowheads="1"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91" t="3228" r="28165" b="18323"/>
            <a:stretch/>
          </p:blipFill>
          <p:spPr bwMode="auto">
            <a:xfrm>
              <a:off x="3886200" y="4572000"/>
              <a:ext cx="755024" cy="987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5" name="Picture 134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09800" y="4600994"/>
              <a:ext cx="540836" cy="9616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6" name="Rectangle 135"/>
            <p:cNvSpPr/>
            <p:nvPr/>
          </p:nvSpPr>
          <p:spPr bwMode="auto">
            <a:xfrm>
              <a:off x="3810000" y="5552664"/>
              <a:ext cx="909635" cy="6195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0"/>
                </a:lnSpc>
              </a:pPr>
              <a:r>
                <a:rPr lang="en-US" sz="1200" dirty="0" smtClean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rPr>
                <a:t>Fare Collector</a:t>
              </a:r>
              <a:endParaRPr lang="th-TH" sz="1200" dirty="0" smtClean="0">
                <a:solidFill>
                  <a:prstClr val="black"/>
                </a:solidFill>
                <a:latin typeface="Cordia New" pitchFamily="34" charset="-34"/>
              </a:endParaRPr>
            </a:p>
            <a:p>
              <a:pPr algn="ctr">
                <a:lnSpc>
                  <a:spcPts val="1700"/>
                </a:lnSpc>
              </a:pPr>
              <a:r>
                <a:rPr lang="en-US" sz="1200" dirty="0" smtClean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rPr>
                <a:t>Handheld </a:t>
              </a:r>
            </a:p>
          </p:txBody>
        </p:sp>
        <p:sp>
          <p:nvSpPr>
            <p:cNvPr id="166" name="Rectangle 165"/>
            <p:cNvSpPr/>
            <p:nvPr/>
          </p:nvSpPr>
          <p:spPr bwMode="auto">
            <a:xfrm>
              <a:off x="2824165" y="5579533"/>
              <a:ext cx="909635" cy="54607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0"/>
                </a:lnSpc>
              </a:pPr>
              <a:r>
                <a:rPr lang="en-US" sz="1200" dirty="0" smtClean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rPr>
                <a:t>Automatic </a:t>
              </a:r>
            </a:p>
            <a:p>
              <a:pPr algn="ctr">
                <a:lnSpc>
                  <a:spcPts val="1700"/>
                </a:lnSpc>
              </a:pPr>
              <a:r>
                <a:rPr lang="en-US" sz="1200" dirty="0" smtClean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rPr>
                <a:t>Cash Box</a:t>
              </a:r>
            </a:p>
          </p:txBody>
        </p:sp>
        <p:sp>
          <p:nvSpPr>
            <p:cNvPr id="167" name="Rectangle 166"/>
            <p:cNvSpPr/>
            <p:nvPr/>
          </p:nvSpPr>
          <p:spPr bwMode="auto">
            <a:xfrm>
              <a:off x="3586165" y="5029200"/>
              <a:ext cx="300035" cy="2286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0"/>
                </a:lnSpc>
              </a:pPr>
              <a:r>
                <a:rPr lang="en-US" sz="1200" dirty="0" smtClean="0">
                  <a:solidFill>
                    <a:prstClr val="black"/>
                  </a:solidFill>
                  <a:latin typeface="Cordia New" pitchFamily="34" charset="-34"/>
                </a:rPr>
                <a:t>OR</a:t>
              </a:r>
              <a:endParaRPr lang="th-TH" sz="1200" dirty="0">
                <a:solidFill>
                  <a:prstClr val="black"/>
                </a:solidFill>
                <a:latin typeface="Cordia New" pitchFamily="34" charset="-34"/>
              </a:endParaRPr>
            </a:p>
          </p:txBody>
        </p:sp>
        <p:pic>
          <p:nvPicPr>
            <p:cNvPr id="179" name="Picture 178"/>
            <p:cNvPicPr>
              <a:picLocks noChangeAspect="1"/>
            </p:cNvPicPr>
            <p:nvPr/>
          </p:nvPicPr>
          <p:blipFill>
            <a:blip r:embed="rId25"/>
            <a:srcRect l="21568" t="8337" r="21568"/>
            <a:stretch>
              <a:fillRect/>
            </a:stretch>
          </p:blipFill>
          <p:spPr>
            <a:xfrm>
              <a:off x="2743200" y="4547006"/>
              <a:ext cx="849060" cy="1011600"/>
            </a:xfrm>
            <a:prstGeom prst="rect">
              <a:avLst/>
            </a:prstGeom>
          </p:spPr>
        </p:pic>
        <p:cxnSp>
          <p:nvCxnSpPr>
            <p:cNvPr id="180" name="Elbow Connector 179"/>
            <p:cNvCxnSpPr>
              <a:endCxn id="131" idx="4"/>
            </p:cNvCxnSpPr>
            <p:nvPr/>
          </p:nvCxnSpPr>
          <p:spPr bwMode="auto">
            <a:xfrm rot="5400000" flipH="1" flipV="1">
              <a:off x="3026962" y="3882518"/>
              <a:ext cx="805257" cy="523721"/>
            </a:xfrm>
            <a:prstGeom prst="bentConnector3">
              <a:avLst>
                <a:gd name="adj1" fmla="val 28972"/>
              </a:avLst>
            </a:prstGeom>
            <a:solidFill>
              <a:srgbClr val="7FD13B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4867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/>
          <a:p>
            <a:r>
              <a:rPr lang="th-TH" sz="2954" dirty="0" smtClean="0">
                <a:latin typeface="Cordia New" pitchFamily="34" charset="-34"/>
                <a:cs typeface="Cordia New" pitchFamily="34" charset="-34"/>
              </a:rPr>
              <a:t>ลักษณะ</a:t>
            </a:r>
            <a:r>
              <a:rPr lang="th-TH" sz="2954" dirty="0">
                <a:latin typeface="Cordia New" pitchFamily="34" charset="-34"/>
                <a:cs typeface="Cordia New" pitchFamily="34" charset="-34"/>
              </a:rPr>
              <a:t>การดำเนินงาน และการพัฒนา </a:t>
            </a:r>
            <a:r>
              <a:rPr lang="en-US" sz="2954" dirty="0">
                <a:latin typeface="Cordia New" pitchFamily="34" charset="-34"/>
                <a:cs typeface="Cordia New" pitchFamily="34" charset="-34"/>
              </a:rPr>
              <a:t>CCH</a:t>
            </a:r>
            <a:endParaRPr lang="th-TH" sz="2954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/>
              <a:pPr>
                <a:defRPr/>
              </a:pPr>
              <a:t>23</a:t>
            </a:fld>
            <a:endParaRPr lang="th-TH" dirty="0"/>
          </a:p>
        </p:txBody>
      </p:sp>
      <p:sp>
        <p:nvSpPr>
          <p:cNvPr id="6" name="Rectangle 5"/>
          <p:cNvSpPr/>
          <p:nvPr/>
        </p:nvSpPr>
        <p:spPr bwMode="auto">
          <a:xfrm>
            <a:off x="616779" y="1089990"/>
            <a:ext cx="365899" cy="38131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569"/>
              </a:lnSpc>
            </a:pPr>
            <a:r>
              <a:rPr lang="en-US" sz="1292" dirty="0">
                <a:solidFill>
                  <a:srgbClr val="FFFFFF">
                    <a:lumMod val="95000"/>
                  </a:srgbClr>
                </a:solidFill>
                <a:latin typeface="Arial" pitchFamily="34" charset="0"/>
                <a:cs typeface="Arial"/>
              </a:rPr>
              <a:t>1</a:t>
            </a:r>
            <a:endParaRPr lang="th-TH" sz="1292" dirty="0">
              <a:solidFill>
                <a:srgbClr val="FFFFFF">
                  <a:lumMod val="95000"/>
                </a:srgbClr>
              </a:solidFill>
              <a:latin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004435" y="1089990"/>
            <a:ext cx="3368159" cy="3813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84406" tIns="42203" rIns="84406" bIns="42203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1569"/>
              </a:lnSpc>
            </a:pPr>
            <a:r>
              <a:rPr lang="th-TH" sz="1477" dirty="0">
                <a:solidFill>
                  <a:srgbClr val="000000"/>
                </a:solidFill>
                <a:latin typeface="Arial" pitchFamily="34" charset="0"/>
              </a:rPr>
              <a:t>หน้าที่การปฏิบัติงานของ</a:t>
            </a:r>
            <a:r>
              <a:rPr lang="en-US" sz="1477" dirty="0">
                <a:solidFill>
                  <a:srgbClr val="000000"/>
                </a:solidFill>
                <a:latin typeface="Arial" pitchFamily="34" charset="0"/>
                <a:cs typeface="Arial"/>
              </a:rPr>
              <a:t> CCH</a:t>
            </a:r>
            <a:endParaRPr lang="th-TH" sz="1477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4671383" y="1089990"/>
            <a:ext cx="365899" cy="38131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569"/>
              </a:lnSpc>
            </a:pPr>
            <a:r>
              <a:rPr lang="en-US" sz="1292" dirty="0">
                <a:solidFill>
                  <a:srgbClr val="FFFFFF">
                    <a:lumMod val="95000"/>
                  </a:srgbClr>
                </a:solidFill>
                <a:latin typeface="Arial" pitchFamily="34" charset="0"/>
                <a:cs typeface="Arial"/>
              </a:rPr>
              <a:t>2</a:t>
            </a:r>
            <a:endParaRPr lang="th-TH" sz="1292" dirty="0">
              <a:solidFill>
                <a:srgbClr val="FFFFFF">
                  <a:lumMod val="95000"/>
                </a:srgbClr>
              </a:solidFill>
              <a:latin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059038" y="1089990"/>
            <a:ext cx="3368159" cy="3813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84406" tIns="42203" rIns="84406" bIns="42203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1569"/>
              </a:lnSpc>
            </a:pPr>
            <a:r>
              <a:rPr lang="th-TH" sz="1477" dirty="0">
                <a:solidFill>
                  <a:srgbClr val="000000"/>
                </a:solidFill>
                <a:latin typeface="Arial" pitchFamily="34" charset="0"/>
              </a:rPr>
              <a:t>หน้าที่การปฏิบัติงานของ</a:t>
            </a:r>
            <a:r>
              <a:rPr lang="en-US" sz="1477" dirty="0">
                <a:solidFill>
                  <a:srgbClr val="000000"/>
                </a:solidFill>
                <a:latin typeface="Arial" pitchFamily="34" charset="0"/>
                <a:cs typeface="Arial"/>
              </a:rPr>
              <a:t> CTAC/CTO</a:t>
            </a:r>
            <a:endParaRPr lang="th-TH" sz="1477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4671383" y="3628407"/>
            <a:ext cx="365899" cy="38131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569"/>
              </a:lnSpc>
            </a:pPr>
            <a:r>
              <a:rPr lang="en-US" sz="1292" dirty="0">
                <a:solidFill>
                  <a:srgbClr val="FFFFFF">
                    <a:lumMod val="95000"/>
                  </a:srgbClr>
                </a:solidFill>
                <a:latin typeface="Arial" pitchFamily="34" charset="0"/>
                <a:cs typeface="Arial"/>
              </a:rPr>
              <a:t>3</a:t>
            </a:r>
            <a:endParaRPr lang="th-TH" sz="1292" dirty="0">
              <a:solidFill>
                <a:srgbClr val="FFFFFF">
                  <a:lumMod val="95000"/>
                </a:srgbClr>
              </a:solidFill>
              <a:latin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5059038" y="3628407"/>
            <a:ext cx="3368159" cy="3813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84406" tIns="42203" rIns="84406" bIns="42203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1569"/>
              </a:lnSpc>
            </a:pPr>
            <a:r>
              <a:rPr lang="th-TH" sz="1477" dirty="0">
                <a:solidFill>
                  <a:srgbClr val="000000"/>
                </a:solidFill>
                <a:latin typeface="Arial" pitchFamily="34" charset="0"/>
              </a:rPr>
              <a:t>หน้าที่การปฏิบัติงานของ</a:t>
            </a:r>
            <a:r>
              <a:rPr lang="en-US" sz="1477" dirty="0">
                <a:solidFill>
                  <a:srgbClr val="000000"/>
                </a:solidFill>
                <a:latin typeface="Arial" pitchFamily="34" charset="0"/>
                <a:cs typeface="Arial"/>
              </a:rPr>
              <a:t> CTC</a:t>
            </a:r>
            <a:endParaRPr lang="th-TH" sz="1477" dirty="0">
              <a:solidFill>
                <a:srgbClr val="000000"/>
              </a:solidFill>
              <a:latin typeface="Arial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 bwMode="auto">
          <a:xfrm>
            <a:off x="4546929" y="1558233"/>
            <a:ext cx="0" cy="431383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33" t="1" r="21957" b="35164"/>
          <a:stretch/>
        </p:blipFill>
        <p:spPr bwMode="auto">
          <a:xfrm>
            <a:off x="710280" y="1567624"/>
            <a:ext cx="3622431" cy="2060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576099" y="3761345"/>
            <a:ext cx="3663558" cy="1980441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noAutofit/>
          </a:bodyPr>
          <a:lstStyle/>
          <a:p>
            <a:pPr marL="263776" indent="-263776">
              <a:buFont typeface="Arial" pitchFamily="34" charset="0"/>
              <a:buChar char="•"/>
            </a:pPr>
            <a:r>
              <a:rPr lang="th-TH" sz="1292" dirty="0">
                <a:solidFill>
                  <a:srgbClr val="000000"/>
                </a:solidFill>
                <a:latin typeface="Arial" pitchFamily="34" charset="0"/>
              </a:rPr>
              <a:t>ระบบออกบัตรและบริหารข้อมูล ตามมาตรฐานของ สนข.</a:t>
            </a:r>
          </a:p>
          <a:p>
            <a:pPr marL="263776" indent="-263776">
              <a:buFont typeface="Arial" pitchFamily="34" charset="0"/>
              <a:buChar char="•"/>
            </a:pPr>
            <a:r>
              <a:rPr lang="th-TH" sz="1292" dirty="0">
                <a:solidFill>
                  <a:srgbClr val="000000"/>
                </a:solidFill>
                <a:latin typeface="Arial" pitchFamily="34" charset="0"/>
              </a:rPr>
              <a:t>ระบบสื่อสาร เชื่อมต่อข้อมูลกับผู้ให้บริการต่างๆ</a:t>
            </a:r>
          </a:p>
          <a:p>
            <a:pPr marL="263776" indent="-263776">
              <a:buFont typeface="Arial" pitchFamily="34" charset="0"/>
              <a:buChar char="•"/>
            </a:pPr>
            <a:r>
              <a:rPr lang="th-TH" sz="1292" dirty="0">
                <a:solidFill>
                  <a:srgbClr val="000000"/>
                </a:solidFill>
                <a:latin typeface="Arial" pitchFamily="34" charset="0"/>
              </a:rPr>
              <a:t>ระบบคอมพิวเตอร์ในการประมวลผล จัดเก็บข้อมูล</a:t>
            </a:r>
          </a:p>
          <a:p>
            <a:pPr marL="263776" indent="-263776">
              <a:buFont typeface="Arial" pitchFamily="34" charset="0"/>
              <a:buChar char="•"/>
            </a:pPr>
            <a:r>
              <a:rPr lang="th-TH" sz="1292" dirty="0">
                <a:solidFill>
                  <a:srgbClr val="000000"/>
                </a:solidFill>
                <a:latin typeface="Arial" pitchFamily="34" charset="0"/>
              </a:rPr>
              <a:t>ระบบการจัดแบ่งรายได้จากค่าโดยสาร และเงินจากการชำระค่าสินค้าหรือบริการ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672728" y="4026975"/>
            <a:ext cx="3754470" cy="1728438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noAutofit/>
          </a:bodyPr>
          <a:lstStyle>
            <a:defPPr>
              <a:defRPr lang="th-TH"/>
            </a:defPPr>
            <a:lvl1pPr marL="285750" indent="-285750">
              <a:lnSpc>
                <a:spcPct val="150000"/>
              </a:lnSpc>
              <a:buFont typeface="Arial" pitchFamily="34" charset="0"/>
              <a:buChar char="•"/>
              <a:defRPr sz="1400">
                <a:latin typeface="Arial" pitchFamily="34" charset="0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th-TH" sz="1292" dirty="0">
                <a:solidFill>
                  <a:srgbClr val="000000"/>
                </a:solidFill>
              </a:rPr>
              <a:t>ปฏิบัติตามนโยบายของ ก.คมนาคม ที่เกี่ยวข้องกับระบบขนส่งผ่าน </a:t>
            </a:r>
            <a:r>
              <a:rPr lang="en-US" sz="1292" dirty="0">
                <a:solidFill>
                  <a:srgbClr val="000000"/>
                </a:solidFill>
              </a:rPr>
              <a:t>CTO</a:t>
            </a:r>
            <a:endParaRPr lang="th-TH" sz="1292" dirty="0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</a:pPr>
            <a:r>
              <a:rPr lang="th-TH" sz="1292" dirty="0">
                <a:solidFill>
                  <a:srgbClr val="000000"/>
                </a:solidFill>
              </a:rPr>
              <a:t>ออกบัตรตามมาตรฐานของ </a:t>
            </a:r>
            <a:r>
              <a:rPr lang="en-US" sz="1292" dirty="0">
                <a:solidFill>
                  <a:srgbClr val="000000"/>
                </a:solidFill>
              </a:rPr>
              <a:t>CTO</a:t>
            </a:r>
            <a:endParaRPr lang="th-TH" sz="1292" dirty="0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</a:pPr>
            <a:r>
              <a:rPr lang="th-TH" sz="1292" dirty="0">
                <a:solidFill>
                  <a:srgbClr val="000000"/>
                </a:solidFill>
              </a:rPr>
              <a:t>บริหารจัดการและบำรุงรักษา </a:t>
            </a:r>
            <a:r>
              <a:rPr lang="en-US" sz="1292" dirty="0">
                <a:solidFill>
                  <a:srgbClr val="000000"/>
                </a:solidFill>
              </a:rPr>
              <a:t>CCH</a:t>
            </a:r>
          </a:p>
          <a:p>
            <a:pPr>
              <a:lnSpc>
                <a:spcPct val="100000"/>
              </a:lnSpc>
            </a:pPr>
            <a:r>
              <a:rPr lang="th-TH" sz="1292" dirty="0">
                <a:solidFill>
                  <a:srgbClr val="000000"/>
                </a:solidFill>
              </a:rPr>
              <a:t>จัดเก็บค่าธรรมเนียมตามประกาศของ สนข. ในส่วนที่เกี่ยวข้องกับระบบขนส่ง</a:t>
            </a:r>
            <a:endParaRPr lang="en-US" sz="1292" dirty="0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</a:pPr>
            <a:r>
              <a:rPr lang="th-TH" sz="1292" dirty="0">
                <a:solidFill>
                  <a:srgbClr val="000000"/>
                </a:solidFill>
              </a:rPr>
              <a:t>พัฒนาผลิตภัณฑ์บัตรโดยสาร</a:t>
            </a:r>
            <a:endParaRPr lang="en-US" sz="1292" dirty="0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</a:pPr>
            <a:endParaRPr lang="th-TH" sz="1292" dirty="0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</a:pPr>
            <a:endParaRPr lang="th-TH" sz="1292" dirty="0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672728" y="1501402"/>
            <a:ext cx="3754470" cy="1752108"/>
          </a:xfrm>
          <a:prstGeom prst="rect">
            <a:avLst/>
          </a:prstGeom>
          <a:noFill/>
        </p:spPr>
        <p:txBody>
          <a:bodyPr wrap="square" lIns="33231" tIns="33231" rIns="33231" bIns="33231" rtlCol="0" anchor="t" anchorCtr="0">
            <a:noAutofit/>
          </a:bodyPr>
          <a:lstStyle>
            <a:defPPr>
              <a:defRPr lang="th-TH"/>
            </a:defPPr>
            <a:lvl1pPr marL="285750" indent="-285750">
              <a:lnSpc>
                <a:spcPct val="150000"/>
              </a:lnSpc>
              <a:buFont typeface="Arial" pitchFamily="34" charset="0"/>
              <a:buChar char="•"/>
              <a:defRPr sz="1400">
                <a:latin typeface="Arial" pitchFamily="34" charset="0"/>
                <a:cs typeface="+mn-cs"/>
              </a:defRPr>
            </a:lvl1pPr>
          </a:lstStyle>
          <a:p>
            <a:pPr>
              <a:lnSpc>
                <a:spcPct val="100000"/>
              </a:lnSpc>
            </a:pPr>
            <a:r>
              <a:rPr lang="th-TH" sz="1292" dirty="0">
                <a:solidFill>
                  <a:srgbClr val="000000"/>
                </a:solidFill>
              </a:rPr>
              <a:t>เสนอนโยบาย แผนงานมาตรฐาน ที่เกี่ยวข้องกับระบบตั๋วร่วม</a:t>
            </a:r>
          </a:p>
          <a:p>
            <a:pPr>
              <a:lnSpc>
                <a:spcPct val="100000"/>
              </a:lnSpc>
            </a:pPr>
            <a:r>
              <a:rPr lang="th-TH" sz="1292" dirty="0">
                <a:solidFill>
                  <a:srgbClr val="000000"/>
                </a:solidFill>
              </a:rPr>
              <a:t>กำกับ ดูแล และประเมินผลการดำเนินงานของ </a:t>
            </a:r>
            <a:r>
              <a:rPr lang="en-US" sz="1292" dirty="0">
                <a:solidFill>
                  <a:srgbClr val="000000"/>
                </a:solidFill>
              </a:rPr>
              <a:t>CTC</a:t>
            </a:r>
          </a:p>
          <a:p>
            <a:pPr>
              <a:lnSpc>
                <a:spcPct val="100000"/>
              </a:lnSpc>
            </a:pPr>
            <a:r>
              <a:rPr lang="th-TH" sz="1292" dirty="0">
                <a:solidFill>
                  <a:srgbClr val="000000"/>
                </a:solidFill>
              </a:rPr>
              <a:t>ปัจจุบัน คกก.กฤษฎีกาให้ความเห็นชอบให้ ปรับเปลี่ยน สตร. เป็นสำนักงานโครงการบริหารจัดการระบบตั๋วร่วม</a:t>
            </a:r>
            <a:endParaRPr lang="th-TH" sz="1477" dirty="0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</a:pPr>
            <a:endParaRPr lang="th-TH" sz="1292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983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Straight Connector 30"/>
          <p:cNvCxnSpPr/>
          <p:nvPr/>
        </p:nvCxnSpPr>
        <p:spPr bwMode="auto">
          <a:xfrm>
            <a:off x="323528" y="2963844"/>
            <a:ext cx="8424936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BDD93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6884379" y="6518278"/>
            <a:ext cx="1784838" cy="3397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47FC294-D80E-4F6E-8AC1-34B637356D0C}" type="slidenum">
              <a:rPr lang="en-US" smtClean="0">
                <a:solidFill>
                  <a:prstClr val="black"/>
                </a:solidFill>
                <a:latin typeface="Cordia New" panose="020B0304020202020204" pitchFamily="34" charset="-34"/>
                <a:cs typeface="Cordia New" panose="020B0304020202020204" pitchFamily="34" charset="-34"/>
              </a:rPr>
              <a:pPr>
                <a:defRPr/>
              </a:pPr>
              <a:t>24</a:t>
            </a:fld>
            <a:endParaRPr lang="th-TH" dirty="0">
              <a:solidFill>
                <a:prstClr val="black"/>
              </a:solidFill>
              <a:latin typeface="Cordia New" panose="020B0304020202020204" pitchFamily="34" charset="-34"/>
              <a:cs typeface="Cordia New" panose="020B0304020202020204" pitchFamily="34" charset="-34"/>
            </a:endParaRPr>
          </a:p>
        </p:txBody>
      </p:sp>
      <p:cxnSp>
        <p:nvCxnSpPr>
          <p:cNvPr id="20" name="Straight Connector 19"/>
          <p:cNvCxnSpPr>
            <a:stCxn id="14" idx="2"/>
          </p:cNvCxnSpPr>
          <p:nvPr/>
        </p:nvCxnSpPr>
        <p:spPr bwMode="auto">
          <a:xfrm flipH="1">
            <a:off x="2017073" y="4129555"/>
            <a:ext cx="1998" cy="351225"/>
          </a:xfrm>
          <a:prstGeom prst="line">
            <a:avLst/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ysDash"/>
            <a:round/>
            <a:headEnd type="none" w="med" len="med"/>
            <a:tailEnd type="triangle" w="med" len="med"/>
          </a:ln>
          <a:effectLst/>
        </p:spPr>
      </p:cxnSp>
      <p:sp>
        <p:nvSpPr>
          <p:cNvPr id="34" name="Rectangle 33"/>
          <p:cNvSpPr/>
          <p:nvPr/>
        </p:nvSpPr>
        <p:spPr bwMode="auto">
          <a:xfrm>
            <a:off x="828353" y="2092747"/>
            <a:ext cx="2377440" cy="724564"/>
          </a:xfrm>
          <a:prstGeom prst="rect">
            <a:avLst/>
          </a:prstGeom>
          <a:solidFill>
            <a:srgbClr val="FB8D1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th-TH" sz="1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กก. บริหารจัดการระบบตั๋ว</a:t>
            </a:r>
            <a:r>
              <a:rPr lang="th-TH" sz="1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่วม</a:t>
            </a:r>
            <a:r>
              <a:rPr lang="en-US" sz="1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/>
            </a:r>
            <a:br>
              <a:rPr lang="en-US" sz="1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</a:br>
            <a:r>
              <a:rPr lang="en-US" sz="1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Common Ticketing Administrative Committee: CTAC</a:t>
            </a:r>
            <a:r>
              <a:rPr lang="en-US" sz="1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r>
              <a:rPr lang="th-TH" sz="1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</a:p>
        </p:txBody>
      </p:sp>
      <p:sp>
        <p:nvSpPr>
          <p:cNvPr id="50" name="Rectangle 49"/>
          <p:cNvSpPr/>
          <p:nvPr>
            <p:custDataLst>
              <p:tags r:id="rId1"/>
            </p:custDataLst>
          </p:nvPr>
        </p:nvSpPr>
        <p:spPr bwMode="auto">
          <a:xfrm>
            <a:off x="1094350" y="4488003"/>
            <a:ext cx="1853288" cy="65219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 cap="flat" cmpd="sng" algn="ctr">
            <a:noFill/>
            <a:prstDash val="sysDash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th-TH" sz="1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ผู้บริหาร</a:t>
            </a:r>
            <a:r>
              <a:rPr lang="th-TH" sz="1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จัดการและบำรุงรักษาระบบ</a:t>
            </a:r>
            <a:endParaRPr lang="th-TH" sz="18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23528" y="5313850"/>
            <a:ext cx="3628863" cy="936104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>
            <a:defPPr>
              <a:defRPr lang="th-TH"/>
            </a:defPPr>
            <a:lvl1pPr marL="285750" marR="0" lvl="0" indent="-2857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 kumimoji="0" sz="1400" i="0" u="none" strike="noStrike" kern="0" cap="none" spc="0" normalizeH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</a:lstStyle>
          <a:p>
            <a:pPr marL="180975" indent="-180975"/>
            <a:r>
              <a:rPr lang="th-TH" sz="1500" dirty="0" smtClean="0"/>
              <a:t>ดูแล</a:t>
            </a:r>
            <a:r>
              <a:rPr lang="th-TH" sz="1500" dirty="0"/>
              <a:t>และปรับปรุงมาตรฐานและรายละเอียดของอุปกรณ์ทั้งหมดที่เกี่ยวข้องกับระบบตั๋ว</a:t>
            </a:r>
            <a:r>
              <a:rPr lang="th-TH" sz="1500" dirty="0" smtClean="0"/>
              <a:t>ร่วม</a:t>
            </a:r>
            <a:endParaRPr lang="en-US" sz="1500" dirty="0"/>
          </a:p>
          <a:p>
            <a:pPr marL="180975" indent="-180975"/>
            <a:r>
              <a:rPr lang="th-TH" sz="1500" dirty="0" smtClean="0"/>
              <a:t>บริหาร</a:t>
            </a:r>
            <a:r>
              <a:rPr lang="th-TH" sz="1500" dirty="0"/>
              <a:t>จัดการ บำรุงรักษา และควบคุมการดำเนินงานของระบบตั๋วร่วมและระบบบริหารจัดการรายได้</a:t>
            </a:r>
            <a:r>
              <a:rPr lang="th-TH" sz="1500" dirty="0" smtClean="0"/>
              <a:t>กลาง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3216490" y="2092747"/>
            <a:ext cx="3693009" cy="527371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>
            <a:defPPr>
              <a:defRPr lang="th-TH"/>
            </a:defPPr>
            <a:lvl1pPr marL="285750" marR="0" lvl="0" indent="-2857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 kumimoji="0" sz="1400" i="0" u="none" strike="noStrike" kern="0" cap="none" spc="0" normalizeH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</a:lstStyle>
          <a:p>
            <a:pPr indent="-171450"/>
            <a:r>
              <a:rPr lang="th-TH" sz="1500" dirty="0"/>
              <a:t>กำหนดนโยบายการพัฒนาระบบตั๋วร่วม</a:t>
            </a:r>
            <a:endParaRPr lang="en-US" sz="1500" dirty="0"/>
          </a:p>
          <a:p>
            <a:pPr indent="-171450"/>
            <a:r>
              <a:rPr lang="th-TH" sz="1500" dirty="0"/>
              <a:t>กำหนดมาตรฐานการดำเนินงานของระบบตั๋วร่วม</a:t>
            </a:r>
          </a:p>
          <a:p>
            <a:pPr indent="-171450"/>
            <a:r>
              <a:rPr lang="th-TH" sz="1500" dirty="0"/>
              <a:t>กำหนดโครงสร้างอัตราค่าโดยสารร่วมและระบบการเชื่อมต่อตั๋วร่วม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832350" y="3094989"/>
            <a:ext cx="2373442" cy="1034566"/>
            <a:chOff x="616326" y="3094989"/>
            <a:chExt cx="2373442" cy="1034566"/>
          </a:xfrm>
        </p:grpSpPr>
        <p:sp>
          <p:nvSpPr>
            <p:cNvPr id="14" name="Rectangle 13"/>
            <p:cNvSpPr/>
            <p:nvPr/>
          </p:nvSpPr>
          <p:spPr bwMode="auto">
            <a:xfrm>
              <a:off x="616326" y="3398035"/>
              <a:ext cx="2373442" cy="731520"/>
            </a:xfrm>
            <a:prstGeom prst="rect">
              <a:avLst/>
            </a:prstGeom>
            <a:solidFill>
              <a:srgbClr val="0041C4">
                <a:lumMod val="75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rtlCol="0" anchor="ctr"/>
            <a:lstStyle/>
            <a:p>
              <a:pPr algn="ctr">
                <a:defRPr/>
              </a:pPr>
              <a:r>
                <a:rPr lang="th-TH" sz="1600" b="1" kern="0" dirty="0" smtClean="0">
                  <a:solidFill>
                    <a:sysClr val="window" lastClr="FFFFFF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สำนักงานโครงการบริหารจัดการระบบตั๋วร่วม (สตร.)</a:t>
              </a:r>
              <a:endParaRPr lang="en-US" sz="1600" b="1" kern="0" dirty="0" smtClean="0">
                <a:solidFill>
                  <a:sysClr val="window" lastClr="FFFFFF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  <a:p>
              <a:pPr algn="ctr">
                <a:defRPr/>
              </a:pPr>
              <a:r>
                <a:rPr lang="en-US" sz="1600" b="1" kern="0" dirty="0" smtClean="0">
                  <a:solidFill>
                    <a:sysClr val="window" lastClr="FFFFFF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(Common Ticketing Office: CTO)</a:t>
              </a: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616326" y="3094989"/>
              <a:ext cx="2373442" cy="338554"/>
            </a:xfrm>
            <a:prstGeom prst="rect">
              <a:avLst/>
            </a:prstGeom>
            <a:solidFill>
              <a:srgbClr val="002060"/>
            </a:solidFill>
          </p:spPr>
          <p:txBody>
            <a:bodyPr wrap="square" anchor="ctr">
              <a:spAutoFit/>
            </a:bodyPr>
            <a:lstStyle/>
            <a:p>
              <a:pPr algn="ctr"/>
              <a:r>
                <a:rPr lang="th-TH" sz="1600" b="1" dirty="0" smtClean="0">
                  <a:solidFill>
                    <a:prstClr val="white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สนข. </a:t>
              </a:r>
              <a:r>
                <a:rPr lang="en-US" sz="1600" b="1" dirty="0" smtClean="0">
                  <a:solidFill>
                    <a:prstClr val="white"/>
                  </a:solidFill>
                  <a:latin typeface="TH SarabunPSK" panose="020B0500040200020003" pitchFamily="34" charset="-34"/>
                  <a:cs typeface="TH SarabunPSK" panose="020B0500040200020003" pitchFamily="34" charset="-34"/>
                </a:rPr>
                <a:t>(OTP)</a:t>
              </a:r>
              <a:endParaRPr lang="th-TH" sz="3200" b="1" dirty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</p:txBody>
        </p:sp>
      </p:grpSp>
      <p:sp>
        <p:nvSpPr>
          <p:cNvPr id="86" name="Rectangle 85"/>
          <p:cNvSpPr/>
          <p:nvPr/>
        </p:nvSpPr>
        <p:spPr>
          <a:xfrm>
            <a:off x="3205791" y="3284226"/>
            <a:ext cx="5542672" cy="936104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marL="2857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th-TH" sz="15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างแผนและเสนอนโยบาย</a:t>
            </a:r>
            <a:r>
              <a:rPr lang="th-TH" sz="1500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พัฒนาระบบตั๋ว</a:t>
            </a:r>
            <a:r>
              <a:rPr lang="th-TH" sz="15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่วม</a:t>
            </a:r>
            <a:endParaRPr lang="th-TH" sz="1500" kern="0" dirty="0" smtClean="0">
              <a:solidFill>
                <a:srgbClr val="0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2857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th-TH" sz="1500" kern="0" dirty="0" smtClean="0">
                <a:solidFill>
                  <a:srgbClr val="0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สนอมาตรฐาน</a:t>
            </a:r>
            <a:r>
              <a:rPr lang="th-TH" sz="1500" kern="0" dirty="0">
                <a:solidFill>
                  <a:srgbClr val="0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อุปกรณ์ต่างๆ ที่เป็นองค์ประกอบของระบบตั๋ว</a:t>
            </a:r>
            <a:r>
              <a:rPr lang="th-TH" sz="1500" kern="0" dirty="0" smtClean="0">
                <a:solidFill>
                  <a:srgbClr val="0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่วม</a:t>
            </a:r>
            <a:endParaRPr lang="en-US" sz="1500" kern="0" dirty="0" smtClean="0">
              <a:solidFill>
                <a:srgbClr val="0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2857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th-TH" sz="1500" kern="0" dirty="0" smtClean="0">
                <a:solidFill>
                  <a:srgbClr val="0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ำกับ</a:t>
            </a:r>
            <a:r>
              <a:rPr lang="th-TH" sz="1500" kern="0" dirty="0">
                <a:solidFill>
                  <a:srgbClr val="0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ดูแลการบริหารงานของผู้บริหารจัดการและดูแล</a:t>
            </a:r>
            <a:r>
              <a:rPr lang="th-TH" sz="1500" kern="0" dirty="0" smtClean="0">
                <a:solidFill>
                  <a:srgbClr val="0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บบ</a:t>
            </a:r>
          </a:p>
          <a:p>
            <a:pPr marL="2857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th-TH" sz="1500" kern="0" dirty="0" smtClean="0">
                <a:solidFill>
                  <a:srgbClr val="0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ฏิบัติหน้าที่ฝ่ายเลขานุการ </a:t>
            </a:r>
            <a:r>
              <a:rPr lang="en-US" sz="1500" kern="0" dirty="0" smtClean="0">
                <a:solidFill>
                  <a:srgbClr val="0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TAC</a:t>
            </a:r>
            <a:endParaRPr lang="en-US" sz="1500" kern="0" dirty="0">
              <a:solidFill>
                <a:srgbClr val="0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611560" y="1113304"/>
            <a:ext cx="2808312" cy="7315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th-TH" sz="1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ณะกรรมการระดับชาติที่มีอำนาจหน้าที่</a:t>
            </a:r>
          </a:p>
          <a:p>
            <a:pPr algn="ctr"/>
            <a:r>
              <a:rPr lang="th-TH" sz="1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อยู่ระหว่างดำเนินการ)</a:t>
            </a:r>
            <a:endParaRPr lang="th-TH" sz="18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371614" y="1123830"/>
            <a:ext cx="3360626" cy="731520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>
            <a:defPPr>
              <a:defRPr lang="th-TH"/>
            </a:defPPr>
            <a:lvl1pPr marL="285750" marR="0" lvl="0" indent="-2857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 kumimoji="0" sz="1400" i="0" u="none" strike="noStrike" kern="0" cap="none" spc="0" normalizeH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</a:lstStyle>
          <a:p>
            <a:pPr indent="-171450"/>
            <a:r>
              <a:rPr lang="th-TH" sz="1500" dirty="0"/>
              <a:t>กำหนด</a:t>
            </a:r>
            <a:r>
              <a:rPr lang="th-TH" sz="1500" dirty="0" smtClean="0"/>
              <a:t>นโยบายด้านการขนส่งและกำหนดมาตรการและบทบาทของหน่วยงานระบบขนส่งในการเข้าร่วมโครงการตั๋วร่วม รวมถึงพิจารณากรอบอัตราค่าโดยสารร่วม</a:t>
            </a:r>
            <a:endParaRPr lang="th-TH" sz="1500" dirty="0"/>
          </a:p>
        </p:txBody>
      </p:sp>
      <p:cxnSp>
        <p:nvCxnSpPr>
          <p:cNvPr id="22" name="Elbow Connector 21"/>
          <p:cNvCxnSpPr>
            <a:stCxn id="19" idx="1"/>
            <a:endCxn id="14" idx="1"/>
          </p:cNvCxnSpPr>
          <p:nvPr/>
        </p:nvCxnSpPr>
        <p:spPr bwMode="auto">
          <a:xfrm rot="10800000" flipH="1" flipV="1">
            <a:off x="611560" y="1479063"/>
            <a:ext cx="220790" cy="2284731"/>
          </a:xfrm>
          <a:prstGeom prst="bentConnector3">
            <a:avLst>
              <a:gd name="adj1" fmla="val -103537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6" name="Straight Connector 25"/>
          <p:cNvCxnSpPr>
            <a:stCxn id="34" idx="2"/>
            <a:endCxn id="81" idx="0"/>
          </p:cNvCxnSpPr>
          <p:nvPr/>
        </p:nvCxnSpPr>
        <p:spPr bwMode="auto">
          <a:xfrm>
            <a:off x="2017073" y="2817311"/>
            <a:ext cx="1998" cy="27767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3" name="Straight Connector 32"/>
          <p:cNvCxnSpPr>
            <a:stCxn id="19" idx="2"/>
            <a:endCxn id="34" idx="0"/>
          </p:cNvCxnSpPr>
          <p:nvPr/>
        </p:nvCxnSpPr>
        <p:spPr bwMode="auto">
          <a:xfrm>
            <a:off x="2015716" y="1844824"/>
            <a:ext cx="1357" cy="24792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triangle" w="med" len="med"/>
            <a:tailEnd type="none" w="med" len="med"/>
          </a:ln>
          <a:effectLst/>
        </p:spPr>
      </p:cxnSp>
      <p:cxnSp>
        <p:nvCxnSpPr>
          <p:cNvPr id="44" name="Straight Connector 43"/>
          <p:cNvCxnSpPr/>
          <p:nvPr/>
        </p:nvCxnSpPr>
        <p:spPr bwMode="auto">
          <a:xfrm>
            <a:off x="323527" y="4321951"/>
            <a:ext cx="8424936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10000"/>
                <a:lumOff val="9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Rectangle 38"/>
          <p:cNvSpPr/>
          <p:nvPr/>
        </p:nvSpPr>
        <p:spPr bwMode="auto">
          <a:xfrm>
            <a:off x="6909499" y="1628800"/>
            <a:ext cx="1512168" cy="576064"/>
          </a:xfrm>
          <a:prstGeom prst="rect">
            <a:avLst/>
          </a:prstGeom>
          <a:noFill/>
          <a:ln w="3810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2400" b="1" dirty="0" smtClean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ดับนโยบาย</a:t>
            </a:r>
          </a:p>
          <a:p>
            <a:pPr algn="ctr"/>
            <a:r>
              <a:rPr lang="en-US" sz="2400" b="1" dirty="0" smtClean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Policy </a:t>
            </a:r>
            <a:r>
              <a:rPr lang="en-US" sz="2200" b="1" dirty="0" smtClean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Maker</a:t>
            </a:r>
            <a:r>
              <a:rPr lang="en-US" sz="2400" b="1" dirty="0" smtClean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endParaRPr lang="th-TH" sz="2400" b="1" dirty="0" smtClean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7020272" y="3356992"/>
            <a:ext cx="1512168" cy="576064"/>
          </a:xfrm>
          <a:prstGeom prst="rect">
            <a:avLst/>
          </a:prstGeom>
          <a:noFill/>
          <a:ln w="3810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2400" b="1" dirty="0" smtClean="0">
                <a:solidFill>
                  <a:srgbClr val="002060">
                    <a:lumMod val="75000"/>
                    <a:lumOff val="25000"/>
                  </a:srgb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ดับกำกับดูแล</a:t>
            </a:r>
          </a:p>
          <a:p>
            <a:pPr algn="ctr"/>
            <a:r>
              <a:rPr lang="en-US" sz="2400" b="1" dirty="0" smtClean="0">
                <a:solidFill>
                  <a:srgbClr val="002060">
                    <a:lumMod val="75000"/>
                    <a:lumOff val="25000"/>
                  </a:srgb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Regulator)</a:t>
            </a:r>
            <a:endParaRPr lang="th-TH" sz="2400" b="1" dirty="0" smtClean="0">
              <a:solidFill>
                <a:srgbClr val="002060">
                  <a:lumMod val="75000"/>
                  <a:lumOff val="25000"/>
                </a:srgb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7049980" y="4581128"/>
            <a:ext cx="1512168" cy="576064"/>
          </a:xfrm>
          <a:prstGeom prst="rect">
            <a:avLst/>
          </a:prstGeom>
          <a:noFill/>
          <a:ln w="3810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2400" b="1" dirty="0" smtClean="0">
                <a:solidFill>
                  <a:prstClr val="white">
                    <a:lumMod val="50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ดับปฏิบัติการ</a:t>
            </a:r>
          </a:p>
          <a:p>
            <a:pPr algn="ctr"/>
            <a:r>
              <a:rPr lang="en-US" sz="2400" b="1" dirty="0" smtClean="0">
                <a:solidFill>
                  <a:prstClr val="white">
                    <a:lumMod val="50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</a:t>
            </a:r>
            <a:r>
              <a:rPr lang="en-US" sz="2200" b="1" dirty="0" smtClean="0">
                <a:solidFill>
                  <a:prstClr val="white">
                    <a:lumMod val="50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Operator</a:t>
            </a:r>
            <a:r>
              <a:rPr lang="en-US" sz="2400" b="1" dirty="0" smtClean="0">
                <a:solidFill>
                  <a:prstClr val="white">
                    <a:lumMod val="50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endParaRPr lang="th-TH" sz="2400" b="1" dirty="0" smtClean="0">
              <a:solidFill>
                <a:prstClr val="white">
                  <a:lumMod val="50000"/>
                </a:prst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960904" y="5289455"/>
            <a:ext cx="5542672" cy="936104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th-TH" sz="1500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ตรวจสอบมาตรฐานของอุปกรณ์ต่างๆ ของผู้ออกและจำหน่ายตั๋วร่วมราย</a:t>
            </a:r>
            <a:r>
              <a:rPr lang="th-TH" sz="15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อื่น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th-TH" sz="15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รับปรุง</a:t>
            </a:r>
            <a:r>
              <a:rPr lang="th-TH" sz="1500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บบการจัดเก็บรายได้ให้สอดคล้องกับนโยบายด้านอัตราค่าโดยสารที่กำหนดโดยภาครัฐ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th-TH" sz="15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ออก</a:t>
            </a:r>
            <a:r>
              <a:rPr lang="th-TH" sz="1500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ละจำหน่ายตั๋วร่วมให้มีมาตรฐานตามนโยบายของภาครัฐ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th-TH" sz="15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บรวม</a:t>
            </a:r>
            <a:r>
              <a:rPr lang="th-TH" sz="1500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ข้อมูลการใช้บริการระบบขนส่งมวลชน </a:t>
            </a:r>
            <a:r>
              <a:rPr lang="th-TH" sz="15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ละประมวลผล</a:t>
            </a:r>
            <a:endParaRPr lang="th-TH" sz="150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z="32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โครงสร้าง</a:t>
            </a:r>
            <a:r>
              <a:rPr lang="th-TH" sz="32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กำกับดูแลและ</a:t>
            </a:r>
            <a:r>
              <a:rPr lang="th-TH" sz="32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บริหาร</a:t>
            </a:r>
            <a:endParaRPr lang="th-TH" sz="32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479051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dirty="0"/>
              <a:t>แนวทางการจัดตั้งผู้บริหารจัดการและบำรุงรักษาระบบ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07996" y="6401645"/>
            <a:ext cx="1884485" cy="3397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5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1152355" y="2939217"/>
            <a:ext cx="988815" cy="647842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th-TH" sz="1400" b="1" dirty="0" smtClean="0">
                <a:latin typeface="Cordia New" pitchFamily="34" charset="-34"/>
                <a:cs typeface="Cordia New" pitchFamily="34" charset="-34"/>
              </a:rPr>
              <a:t>คณะทำงานจัดตั้งหน่วยงานฯ</a:t>
            </a:r>
            <a:endParaRPr lang="en-US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4932040" y="4192125"/>
            <a:ext cx="1516589" cy="1000723"/>
          </a:xfrm>
          <a:prstGeom prst="rect">
            <a:avLst/>
          </a:prstGeom>
          <a:solidFill>
            <a:srgbClr val="0000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 anchor="ctr"/>
          <a:lstStyle/>
          <a:p>
            <a:pPr algn="ctr"/>
            <a:r>
              <a:rPr lang="th-TH" sz="1800" b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ผู้บริหารจัดการและบำรุงรักษาระบบ</a:t>
            </a:r>
          </a:p>
        </p:txBody>
      </p:sp>
      <p:cxnSp>
        <p:nvCxnSpPr>
          <p:cNvPr id="7" name="Straight Arrow Connector 6"/>
          <p:cNvCxnSpPr/>
          <p:nvPr/>
        </p:nvCxnSpPr>
        <p:spPr bwMode="auto">
          <a:xfrm>
            <a:off x="2557496" y="4941168"/>
            <a:ext cx="2374544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8" name="Rectangle 7"/>
          <p:cNvSpPr/>
          <p:nvPr/>
        </p:nvSpPr>
        <p:spPr bwMode="auto">
          <a:xfrm>
            <a:off x="4458545" y="2492896"/>
            <a:ext cx="1049559" cy="574898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ภาครัฐ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5706899" y="2492896"/>
            <a:ext cx="1049559" cy="57489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latin typeface="Cordia New" pitchFamily="34" charset="-34"/>
                <a:cs typeface="Cordia New" pitchFamily="34" charset="-34"/>
              </a:rPr>
              <a:t>ผู้ร่วมทุนเอกชน</a:t>
            </a:r>
            <a:endParaRPr lang="th-TH" sz="16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323528" y="1052736"/>
            <a:ext cx="2513237" cy="50405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r>
              <a:rPr lang="th-TH" sz="1600" b="1" dirty="0" smtClean="0">
                <a:latin typeface="Cordia New" pitchFamily="34" charset="-34"/>
                <a:cs typeface="Cordia New" pitchFamily="34" charset="-34"/>
              </a:rPr>
              <a:t>ระยะที่</a:t>
            </a:r>
            <a:r>
              <a:rPr lang="en-US" sz="1600" b="1" dirty="0" smtClean="0">
                <a:latin typeface="Cordia New" pitchFamily="34" charset="-34"/>
                <a:cs typeface="Cordia New" pitchFamily="34" charset="-34"/>
              </a:rPr>
              <a:t> 1: </a:t>
            </a:r>
            <a:r>
              <a:rPr lang="th-TH" sz="1600" dirty="0" smtClean="0">
                <a:latin typeface="Cordia New" pitchFamily="34" charset="-34"/>
                <a:cs typeface="Cordia New" pitchFamily="34" charset="-34"/>
              </a:rPr>
              <a:t>จัดตั้งคณะทำงานโดยมีผู้แทนจากหน่วยงานภาครัฐเข้าร่วม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915816" y="1048009"/>
            <a:ext cx="3299260" cy="50405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50000">
                <a:schemeClr val="bg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r>
              <a:rPr lang="th-TH" sz="1600" b="1" dirty="0" smtClean="0">
                <a:latin typeface="Cordia New" pitchFamily="34" charset="-34"/>
                <a:cs typeface="Cordia New" pitchFamily="34" charset="-34"/>
              </a:rPr>
              <a:t>ระยะที่</a:t>
            </a:r>
            <a:r>
              <a:rPr lang="en-US" sz="1600" b="1" dirty="0" smtClean="0">
                <a:latin typeface="Cordia New" pitchFamily="34" charset="-34"/>
                <a:cs typeface="Cordia New" pitchFamily="34" charset="-34"/>
              </a:rPr>
              <a:t> 2: </a:t>
            </a:r>
            <a:r>
              <a:rPr lang="en-US" sz="1600" dirty="0">
                <a:latin typeface="Cordia New" pitchFamily="34" charset="-34"/>
                <a:cs typeface="Cordia New" pitchFamily="34" charset="-34"/>
              </a:rPr>
              <a:t>PPP </a:t>
            </a:r>
            <a:r>
              <a:rPr lang="th-TH" sz="1600" dirty="0">
                <a:latin typeface="Cordia New" pitchFamily="34" charset="-34"/>
                <a:cs typeface="Cordia New" pitchFamily="34" charset="-34"/>
              </a:rPr>
              <a:t>โดย สนข. คัดเลือกเอกชน</a:t>
            </a:r>
          </a:p>
        </p:txBody>
      </p:sp>
      <p:cxnSp>
        <p:nvCxnSpPr>
          <p:cNvPr id="12" name="Elbow Connector 11"/>
          <p:cNvCxnSpPr>
            <a:stCxn id="8" idx="2"/>
            <a:endCxn id="6" idx="0"/>
          </p:cNvCxnSpPr>
          <p:nvPr/>
        </p:nvCxnSpPr>
        <p:spPr bwMode="auto">
          <a:xfrm rot="16200000" flipH="1">
            <a:off x="4774665" y="3276454"/>
            <a:ext cx="1124331" cy="707010"/>
          </a:xfrm>
          <a:prstGeom prst="bentConnector3">
            <a:avLst>
              <a:gd name="adj1" fmla="val 59319"/>
            </a:avLst>
          </a:prstGeom>
          <a:solidFill>
            <a:schemeClr val="accent1"/>
          </a:solidFill>
          <a:ln w="19050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13" name="Elbow Connector 12"/>
          <p:cNvCxnSpPr>
            <a:stCxn id="9" idx="2"/>
            <a:endCxn id="6" idx="0"/>
          </p:cNvCxnSpPr>
          <p:nvPr/>
        </p:nvCxnSpPr>
        <p:spPr bwMode="auto">
          <a:xfrm rot="5400000">
            <a:off x="5398842" y="3359287"/>
            <a:ext cx="1124331" cy="541344"/>
          </a:xfrm>
          <a:prstGeom prst="bentConnector3">
            <a:avLst>
              <a:gd name="adj1" fmla="val 59319"/>
            </a:avLst>
          </a:prstGeom>
          <a:solidFill>
            <a:schemeClr val="accent1"/>
          </a:solidFill>
          <a:ln w="19050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14" name="Rectangle 13"/>
          <p:cNvSpPr/>
          <p:nvPr/>
        </p:nvSpPr>
        <p:spPr bwMode="auto">
          <a:xfrm>
            <a:off x="5961007" y="3179136"/>
            <a:ext cx="519387" cy="38968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en-US" sz="1400" b="0" dirty="0" smtClean="0">
                <a:solidFill>
                  <a:srgbClr val="000099"/>
                </a:solidFill>
                <a:latin typeface="Cordia New" pitchFamily="34" charset="-34"/>
                <a:cs typeface="Cordia New" pitchFamily="34" charset="-34"/>
              </a:rPr>
              <a:t>[&gt;50%]</a:t>
            </a:r>
          </a:p>
          <a:p>
            <a:pPr algn="ctr"/>
            <a:r>
              <a:rPr lang="en-US" sz="1400" b="1" dirty="0" smtClean="0">
                <a:solidFill>
                  <a:schemeClr val="accent3">
                    <a:lumMod val="75000"/>
                  </a:schemeClr>
                </a:solidFill>
                <a:latin typeface="Cordia New" pitchFamily="34" charset="-34"/>
                <a:cs typeface="Cordia New" pitchFamily="34" charset="-34"/>
              </a:rPr>
              <a:t>[40%]</a:t>
            </a:r>
            <a:endParaRPr lang="th-TH" sz="1400" b="1" dirty="0" smtClean="0">
              <a:solidFill>
                <a:schemeClr val="accent3">
                  <a:lumMod val="75000"/>
                </a:schemeClr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818671" y="3928390"/>
            <a:ext cx="1728192" cy="612000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OTP</a:t>
            </a:r>
            <a:endParaRPr lang="th-TH" sz="1800" b="1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997003" y="4613027"/>
            <a:ext cx="1391509" cy="1362186"/>
            <a:chOff x="1389050" y="4120231"/>
            <a:chExt cx="1568337" cy="1737918"/>
          </a:xfrm>
        </p:grpSpPr>
        <p:sp>
          <p:nvSpPr>
            <p:cNvPr id="18" name="Rectangle 17"/>
            <p:cNvSpPr/>
            <p:nvPr/>
          </p:nvSpPr>
          <p:spPr bwMode="auto">
            <a:xfrm>
              <a:off x="1389050" y="4120231"/>
              <a:ext cx="1568337" cy="1737918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rtlCol="0" anchor="ctr"/>
            <a:lstStyle/>
            <a:p>
              <a:pPr algn="ctr"/>
              <a:endParaRPr lang="th-TH" sz="1400" b="0" dirty="0" smtClean="0">
                <a:latin typeface="Cordia New" pitchFamily="34" charset="-34"/>
                <a:cs typeface="Cordia New" pitchFamily="34" charset="-34"/>
              </a:endParaRPr>
            </a:p>
          </p:txBody>
        </p:sp>
        <p:sp>
          <p:nvSpPr>
            <p:cNvPr id="19" name="Rectangle 18"/>
            <p:cNvSpPr/>
            <p:nvPr>
              <p:custDataLst>
                <p:tags r:id="rId1"/>
              </p:custDataLst>
            </p:nvPr>
          </p:nvSpPr>
          <p:spPr bwMode="auto">
            <a:xfrm>
              <a:off x="1574393" y="4258497"/>
              <a:ext cx="1180722" cy="8409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72000" tIns="36000" rIns="72000" bIns="36000" rtlCol="0" anchor="ctr"/>
            <a:lstStyle/>
            <a:p>
              <a:pPr algn="ctr">
                <a:lnSpc>
                  <a:spcPct val="85000"/>
                </a:lnSpc>
              </a:pPr>
              <a:r>
                <a:rPr lang="th-TH" sz="1200" b="1" dirty="0">
                  <a:latin typeface="Cordia New" pitchFamily="34" charset="-34"/>
                  <a:cs typeface="Cordia New" pitchFamily="34" charset="-34"/>
                </a:rPr>
                <a:t>ระบบและมาตรฐานตั๋วร่วม</a:t>
              </a:r>
              <a:endParaRPr lang="th-TH" sz="1100" dirty="0">
                <a:latin typeface="Cordia New" pitchFamily="34" charset="-34"/>
                <a:cs typeface="Cordia New" pitchFamily="34" charset="-34"/>
              </a:endParaRPr>
            </a:p>
          </p:txBody>
        </p:sp>
        <p:sp>
          <p:nvSpPr>
            <p:cNvPr id="20" name="Flowchart: Magnetic Disk 19"/>
            <p:cNvSpPr/>
            <p:nvPr>
              <p:custDataLst>
                <p:tags r:id="rId2"/>
              </p:custDataLst>
            </p:nvPr>
          </p:nvSpPr>
          <p:spPr bwMode="auto">
            <a:xfrm>
              <a:off x="1640645" y="5297840"/>
              <a:ext cx="1048217" cy="423774"/>
            </a:xfrm>
            <a:prstGeom prst="flowChartMagneticDisk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72000" tIns="36000" rIns="72000" bIns="36000" rtlCol="0" anchor="ctr"/>
            <a:lstStyle/>
            <a:p>
              <a:pPr algn="ctr">
                <a:lnSpc>
                  <a:spcPct val="85000"/>
                </a:lnSpc>
              </a:pPr>
              <a:r>
                <a:rPr lang="th-TH" sz="1200" b="1" dirty="0">
                  <a:latin typeface="Cordia New" pitchFamily="34" charset="-34"/>
                  <a:cs typeface="Cordia New" pitchFamily="34" charset="-34"/>
                </a:rPr>
                <a:t>ระบบ </a:t>
              </a:r>
              <a:r>
                <a:rPr lang="en-US" sz="1200" b="1" dirty="0">
                  <a:latin typeface="Cordia New" pitchFamily="34" charset="-34"/>
                  <a:cs typeface="Cordia New" pitchFamily="34" charset="-34"/>
                </a:rPr>
                <a:t>CCH</a:t>
              </a:r>
              <a:endParaRPr lang="th-TH" sz="1200" b="1" dirty="0">
                <a:latin typeface="Cordia New" pitchFamily="34" charset="-34"/>
                <a:cs typeface="Cordia New" pitchFamily="34" charset="-34"/>
              </a:endParaRPr>
            </a:p>
          </p:txBody>
        </p:sp>
      </p:grpSp>
      <p:sp>
        <p:nvSpPr>
          <p:cNvPr id="21" name="Rectangle 20"/>
          <p:cNvSpPr/>
          <p:nvPr/>
        </p:nvSpPr>
        <p:spPr bwMode="auto">
          <a:xfrm>
            <a:off x="818671" y="3928389"/>
            <a:ext cx="1728192" cy="2164907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2836765" y="4487095"/>
            <a:ext cx="1867971" cy="4107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800" b="1" dirty="0">
                <a:solidFill>
                  <a:srgbClr val="00B050"/>
                </a:solidFill>
                <a:latin typeface="Cordia New" pitchFamily="34" charset="-34"/>
                <a:cs typeface="Cordia New" pitchFamily="34" charset="-34"/>
              </a:rPr>
              <a:t>คัดเลือกผ่านขั้นตอน </a:t>
            </a:r>
            <a:r>
              <a:rPr lang="en-US" sz="1800" b="1" dirty="0">
                <a:solidFill>
                  <a:srgbClr val="00B050"/>
                </a:solidFill>
                <a:latin typeface="Cordia New" pitchFamily="34" charset="-34"/>
                <a:cs typeface="Cordia New" pitchFamily="34" charset="-34"/>
              </a:rPr>
              <a:t>PPP</a:t>
            </a:r>
            <a:endParaRPr lang="th-TH" sz="1800" b="1" dirty="0">
              <a:solidFill>
                <a:srgbClr val="00B050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3" name="Straight Arrow Connector 22"/>
          <p:cNvCxnSpPr>
            <a:stCxn id="29" idx="2"/>
            <a:endCxn id="5" idx="0"/>
          </p:cNvCxnSpPr>
          <p:nvPr/>
        </p:nvCxnSpPr>
        <p:spPr bwMode="auto">
          <a:xfrm>
            <a:off x="1646763" y="2492896"/>
            <a:ext cx="0" cy="44632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FB8D1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4" name="Rectangle 23"/>
          <p:cNvSpPr/>
          <p:nvPr/>
        </p:nvSpPr>
        <p:spPr bwMode="auto">
          <a:xfrm>
            <a:off x="1638101" y="2532346"/>
            <a:ext cx="756000" cy="32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i="1" dirty="0" smtClean="0">
                <a:latin typeface="Cordia New" pitchFamily="34" charset="-34"/>
                <a:cs typeface="Cordia New" pitchFamily="34" charset="-34"/>
              </a:rPr>
              <a:t>ร่วมกันจัดตั้ง</a:t>
            </a:r>
            <a:endParaRPr lang="th-TH" sz="1400" b="0" i="1" dirty="0" smtClean="0">
              <a:latin typeface="Cordia New" pitchFamily="34" charset="-34"/>
              <a:cs typeface="Cordia New" pitchFamily="34" charset="-34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530639" y="1772817"/>
            <a:ext cx="2232248" cy="720079"/>
            <a:chOff x="611560" y="1668908"/>
            <a:chExt cx="2232248" cy="720079"/>
          </a:xfrm>
        </p:grpSpPr>
        <p:sp>
          <p:nvSpPr>
            <p:cNvPr id="28" name="Rectangle 27"/>
            <p:cNvSpPr/>
            <p:nvPr/>
          </p:nvSpPr>
          <p:spPr bwMode="auto">
            <a:xfrm>
              <a:off x="611560" y="1864693"/>
              <a:ext cx="2215407" cy="34427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rtlCol="0" anchor="ctr"/>
            <a:lstStyle/>
            <a:p>
              <a:pPr algn="ctr"/>
              <a:r>
                <a:rPr lang="th-TH" sz="1800" b="1" dirty="0" smtClean="0">
                  <a:latin typeface="Cordia New" pitchFamily="34" charset="-34"/>
                  <a:cs typeface="Cordia New" pitchFamily="34" charset="-34"/>
                </a:rPr>
                <a:t>หน่วยงานภาครัฐที่ให้บริการระบบขนส่งสาธารณะ</a:t>
              </a: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611560" y="1668908"/>
              <a:ext cx="2232248" cy="720079"/>
            </a:xfrm>
            <a:prstGeom prst="rect">
              <a:avLst/>
            </a:prstGeom>
            <a:noFill/>
            <a:ln w="9525" cap="flat" cmpd="sng" algn="ctr">
              <a:solidFill>
                <a:srgbClr val="FB8D1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rtlCol="0" anchor="ctr"/>
            <a:lstStyle/>
            <a:p>
              <a:pPr algn="ctr"/>
              <a:endParaRPr lang="th-TH" sz="1600" b="0" dirty="0" smtClean="0">
                <a:latin typeface="Cordia New" pitchFamily="34" charset="-34"/>
                <a:cs typeface="Cordia New" pitchFamily="34" charset="-34"/>
              </a:endParaRPr>
            </a:p>
          </p:txBody>
        </p:sp>
      </p:grpSp>
      <p:cxnSp>
        <p:nvCxnSpPr>
          <p:cNvPr id="31" name="Elbow Connector 30"/>
          <p:cNvCxnSpPr>
            <a:stCxn id="29" idx="3"/>
            <a:endCxn id="8" idx="0"/>
          </p:cNvCxnSpPr>
          <p:nvPr/>
        </p:nvCxnSpPr>
        <p:spPr bwMode="auto">
          <a:xfrm>
            <a:off x="2762887" y="2132857"/>
            <a:ext cx="2220438" cy="360039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rgbClr val="FB8D15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2" name="Elbow Connector 31"/>
          <p:cNvCxnSpPr/>
          <p:nvPr/>
        </p:nvCxnSpPr>
        <p:spPr bwMode="auto">
          <a:xfrm rot="10800000" flipH="1" flipV="1">
            <a:off x="530639" y="2060848"/>
            <a:ext cx="288032" cy="3132000"/>
          </a:xfrm>
          <a:prstGeom prst="bentConnector3">
            <a:avLst>
              <a:gd name="adj1" fmla="val -79366"/>
            </a:avLst>
          </a:prstGeom>
          <a:solidFill>
            <a:schemeClr val="accent1"/>
          </a:solidFill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3" name="Elbow Connector 32"/>
          <p:cNvCxnSpPr>
            <a:stCxn id="6" idx="2"/>
          </p:cNvCxnSpPr>
          <p:nvPr/>
        </p:nvCxnSpPr>
        <p:spPr bwMode="auto">
          <a:xfrm rot="5400000">
            <a:off x="3787020" y="3952691"/>
            <a:ext cx="663158" cy="3143472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4" name="TextBox 33"/>
          <p:cNvSpPr txBox="1"/>
          <p:nvPr/>
        </p:nvSpPr>
        <p:spPr>
          <a:xfrm>
            <a:off x="2994568" y="5572864"/>
            <a:ext cx="1710168" cy="2831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th-TH" sz="1400" i="1" dirty="0">
                <a:latin typeface="Cordia New" pitchFamily="34" charset="-34"/>
                <a:cs typeface="Cordia New" pitchFamily="34" charset="-34"/>
              </a:rPr>
              <a:t>บริหารจัดการและบำรุงรักษา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67544" y="3629959"/>
            <a:ext cx="2225205" cy="2741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th-TH" sz="1400" i="1" dirty="0">
                <a:latin typeface="Cordia New" pitchFamily="34" charset="-34"/>
                <a:cs typeface="Cordia New" pitchFamily="34" charset="-34"/>
              </a:rPr>
              <a:t>บริหารจัดการระยะเริ่มต้น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7075051" y="2495530"/>
            <a:ext cx="1049559" cy="574898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solidFill>
              <a:schemeClr val="accent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latin typeface="Cordia New" pitchFamily="34" charset="-34"/>
                <a:cs typeface="Cordia New" pitchFamily="34" charset="-34"/>
              </a:rPr>
              <a:t>อื่นๆ</a:t>
            </a:r>
          </a:p>
        </p:txBody>
      </p:sp>
      <p:cxnSp>
        <p:nvCxnSpPr>
          <p:cNvPr id="37" name="Elbow Connector 36"/>
          <p:cNvCxnSpPr>
            <a:stCxn id="36" idx="2"/>
            <a:endCxn id="6" idx="0"/>
          </p:cNvCxnSpPr>
          <p:nvPr/>
        </p:nvCxnSpPr>
        <p:spPr bwMode="auto">
          <a:xfrm rot="5400000">
            <a:off x="6084235" y="2676528"/>
            <a:ext cx="1121697" cy="1909496"/>
          </a:xfrm>
          <a:prstGeom prst="bentConnector3">
            <a:avLst>
              <a:gd name="adj1" fmla="val 74626"/>
            </a:avLst>
          </a:prstGeom>
          <a:solidFill>
            <a:schemeClr val="accent1"/>
          </a:solidFill>
          <a:ln w="19050" cap="flat" cmpd="sng" algn="ctr">
            <a:solidFill>
              <a:schemeClr val="accent1">
                <a:lumMod val="50000"/>
                <a:lumOff val="50000"/>
              </a:schemeClr>
            </a:solidFill>
            <a:prstDash val="sysDash"/>
            <a:round/>
            <a:headEnd type="none" w="med" len="med"/>
            <a:tailEnd type="triangle" w="lg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6300192" y="1048009"/>
            <a:ext cx="2537371" cy="50405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r>
              <a:rPr lang="th-TH" sz="16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ระยะที่</a:t>
            </a:r>
            <a:r>
              <a:rPr lang="en-US" sz="16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 3: </a:t>
            </a:r>
            <a:r>
              <a:rPr lang="th-TH" sz="1600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ขายหุ้นเพิ่มทุนให้ผู้ประกอบการ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7336879" y="3249008"/>
            <a:ext cx="500814" cy="252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en-US" sz="1400" b="1" dirty="0" smtClean="0">
                <a:solidFill>
                  <a:schemeClr val="accent3">
                    <a:lumMod val="75000"/>
                  </a:schemeClr>
                </a:solidFill>
                <a:latin typeface="Cordia New" pitchFamily="34" charset="-34"/>
                <a:cs typeface="Cordia New" pitchFamily="34" charset="-34"/>
              </a:rPr>
              <a:t>[20%]</a:t>
            </a:r>
            <a:endParaRPr lang="th-TH" sz="1400" b="1" dirty="0" smtClean="0">
              <a:solidFill>
                <a:schemeClr val="accent3">
                  <a:lumMod val="75000"/>
                </a:schemeClr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4723631" y="3177445"/>
            <a:ext cx="519387" cy="38968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rtlCol="0" anchor="ctr"/>
          <a:lstStyle/>
          <a:p>
            <a:pPr algn="ctr"/>
            <a:r>
              <a:rPr lang="en-US" sz="1400" b="0" dirty="0" smtClean="0">
                <a:solidFill>
                  <a:srgbClr val="000099"/>
                </a:solidFill>
                <a:latin typeface="Cordia New" pitchFamily="34" charset="-34"/>
                <a:cs typeface="Cordia New" pitchFamily="34" charset="-34"/>
              </a:rPr>
              <a:t>[&lt;50%]</a:t>
            </a:r>
          </a:p>
          <a:p>
            <a:pPr algn="ctr"/>
            <a:r>
              <a:rPr lang="en-US" sz="1400" b="1" dirty="0" smtClean="0">
                <a:solidFill>
                  <a:schemeClr val="accent3">
                    <a:lumMod val="75000"/>
                  </a:schemeClr>
                </a:solidFill>
                <a:latin typeface="Cordia New" pitchFamily="34" charset="-34"/>
                <a:cs typeface="Cordia New" pitchFamily="34" charset="-34"/>
              </a:rPr>
              <a:t>[40%]</a:t>
            </a:r>
            <a:endParaRPr lang="th-TH" sz="1400" b="1" dirty="0" smtClean="0">
              <a:solidFill>
                <a:schemeClr val="accent3">
                  <a:lumMod val="75000"/>
                </a:schemeClr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1" name="Isosceles Triangle 40"/>
          <p:cNvSpPr/>
          <p:nvPr/>
        </p:nvSpPr>
        <p:spPr bwMode="auto">
          <a:xfrm rot="10800000">
            <a:off x="4915082" y="3347474"/>
            <a:ext cx="144000" cy="72000"/>
          </a:xfrm>
          <a:prstGeom prst="triangle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2" name="Isosceles Triangle 41"/>
          <p:cNvSpPr/>
          <p:nvPr/>
        </p:nvSpPr>
        <p:spPr bwMode="auto">
          <a:xfrm rot="10800000">
            <a:off x="6156192" y="3356992"/>
            <a:ext cx="144000" cy="72000"/>
          </a:xfrm>
          <a:prstGeom prst="triangle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6679007" y="1769670"/>
            <a:ext cx="792088" cy="2276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200" dirty="0" smtClean="0">
                <a:latin typeface="Cordia New" pitchFamily="34" charset="-34"/>
                <a:cs typeface="Cordia New" pitchFamily="34" charset="-34"/>
              </a:rPr>
              <a:t>ผู้ประกอบการ</a:t>
            </a:r>
            <a:endParaRPr lang="th-TH" sz="12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7740352" y="1769670"/>
            <a:ext cx="792088" cy="2276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200" b="0" dirty="0" smtClean="0">
                <a:latin typeface="Cordia New" pitchFamily="34" charset="-34"/>
                <a:cs typeface="Cordia New" pitchFamily="34" charset="-34"/>
              </a:rPr>
              <a:t>ร้านค้า</a:t>
            </a:r>
          </a:p>
        </p:txBody>
      </p:sp>
      <p:cxnSp>
        <p:nvCxnSpPr>
          <p:cNvPr id="45" name="Elbow Connector 44"/>
          <p:cNvCxnSpPr>
            <a:stCxn id="43" idx="2"/>
            <a:endCxn id="36" idx="0"/>
          </p:cNvCxnSpPr>
          <p:nvPr/>
        </p:nvCxnSpPr>
        <p:spPr bwMode="auto">
          <a:xfrm rot="16200000" flipH="1">
            <a:off x="7088333" y="1984031"/>
            <a:ext cx="498217" cy="524780"/>
          </a:xfrm>
          <a:prstGeom prst="bentConnector3">
            <a:avLst/>
          </a:prstGeom>
          <a:solidFill>
            <a:schemeClr val="accent1"/>
          </a:solidFill>
          <a:ln w="3175" cap="flat" cmpd="sng" algn="ctr">
            <a:solidFill>
              <a:schemeClr val="accent3">
                <a:lumMod val="75000"/>
              </a:schemeClr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6" name="Elbow Connector 45"/>
          <p:cNvCxnSpPr>
            <a:stCxn id="44" idx="2"/>
            <a:endCxn id="36" idx="0"/>
          </p:cNvCxnSpPr>
          <p:nvPr/>
        </p:nvCxnSpPr>
        <p:spPr bwMode="auto">
          <a:xfrm rot="5400000">
            <a:off x="7619006" y="1978139"/>
            <a:ext cx="498217" cy="536565"/>
          </a:xfrm>
          <a:prstGeom prst="bentConnector3">
            <a:avLst/>
          </a:prstGeom>
          <a:solidFill>
            <a:schemeClr val="accent1"/>
          </a:solidFill>
          <a:ln w="3175" cap="flat" cmpd="sng" algn="ctr">
            <a:solidFill>
              <a:schemeClr val="accent3">
                <a:lumMod val="75000"/>
              </a:schemeClr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43285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" name="Object 10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02086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93" name="think-cell Slide" r:id="rId96" imgW="360" imgH="360" progId="">
                  <p:embed/>
                </p:oleObj>
              </mc:Choice>
              <mc:Fallback>
                <p:oleObj name="think-cell Slide" r:id="rId96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5" name="Oval 174"/>
          <p:cNvSpPr/>
          <p:nvPr>
            <p:custDataLst>
              <p:tags r:id="rId3"/>
            </p:custDataLst>
          </p:nvPr>
        </p:nvSpPr>
        <p:spPr bwMode="auto">
          <a:xfrm>
            <a:off x="3585297" y="2486999"/>
            <a:ext cx="2149104" cy="2110068"/>
          </a:xfrm>
          <a:prstGeom prst="ellips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endParaRPr lang="th-TH" sz="1200" b="1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th-TH" sz="2400" dirty="0" smtClean="0">
                <a:latin typeface="Cordia New" pitchFamily="34" charset="-34"/>
                <a:cs typeface="Cordia New" pitchFamily="34" charset="-34"/>
              </a:rPr>
              <a:t>ภาพรวมการใช้ตั๋วร่วม</a:t>
            </a:r>
            <a:endParaRPr lang="th-TH" sz="2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283" name="Rectangle 282"/>
          <p:cNvSpPr/>
          <p:nvPr>
            <p:custDataLst>
              <p:tags r:id="rId6"/>
            </p:custDataLst>
          </p:nvPr>
        </p:nvSpPr>
        <p:spPr bwMode="auto">
          <a:xfrm>
            <a:off x="341143" y="6251436"/>
            <a:ext cx="8594277" cy="51867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>
          <a:xfrm>
            <a:off x="6884426" y="6597352"/>
            <a:ext cx="1884485" cy="232037"/>
          </a:xfrm>
        </p:spPr>
        <p:txBody>
          <a:bodyPr/>
          <a:lstStyle/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th-TH" dirty="0">
              <a:solidFill>
                <a:prstClr val="black"/>
              </a:solidFill>
            </a:endParaRPr>
          </a:p>
        </p:txBody>
      </p:sp>
      <p:grpSp>
        <p:nvGrpSpPr>
          <p:cNvPr id="288" name="Group 287"/>
          <p:cNvGrpSpPr/>
          <p:nvPr>
            <p:custDataLst>
              <p:tags r:id="rId8"/>
            </p:custDataLst>
          </p:nvPr>
        </p:nvGrpSpPr>
        <p:grpSpPr>
          <a:xfrm>
            <a:off x="4361697" y="3317595"/>
            <a:ext cx="752824" cy="486277"/>
            <a:chOff x="5875526" y="2598368"/>
            <a:chExt cx="892969" cy="562190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289" name="Oval 288"/>
            <p:cNvSpPr/>
            <p:nvPr>
              <p:custDataLst>
                <p:tags r:id="rId91"/>
              </p:custDataLst>
            </p:nvPr>
          </p:nvSpPr>
          <p:spPr bwMode="auto">
            <a:xfrm>
              <a:off x="6508052" y="2602203"/>
              <a:ext cx="260443" cy="26044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rtlCol="0" anchor="ctr"/>
            <a:lstStyle/>
            <a:p>
              <a:pPr marL="285750" indent="-285750" algn="ctr">
                <a:buFont typeface="Arial" pitchFamily="34" charset="0"/>
                <a:buChar char="•"/>
              </a:pPr>
              <a:endParaRPr lang="th-TH" sz="1600" b="0" dirty="0" smtClean="0">
                <a:latin typeface="Cordia New" pitchFamily="34" charset="-34"/>
                <a:cs typeface="Cordia New" pitchFamily="34" charset="-34"/>
              </a:endParaRPr>
            </a:p>
          </p:txBody>
        </p:sp>
        <p:sp>
          <p:nvSpPr>
            <p:cNvPr id="290" name="Oval 289"/>
            <p:cNvSpPr/>
            <p:nvPr>
              <p:custDataLst>
                <p:tags r:id="rId92"/>
              </p:custDataLst>
            </p:nvPr>
          </p:nvSpPr>
          <p:spPr bwMode="auto">
            <a:xfrm>
              <a:off x="6508052" y="2900116"/>
              <a:ext cx="260443" cy="26044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rtlCol="0" anchor="ctr"/>
            <a:lstStyle/>
            <a:p>
              <a:pPr marL="285750" indent="-285750" algn="ctr">
                <a:buFont typeface="Arial" pitchFamily="34" charset="0"/>
                <a:buChar char="•"/>
              </a:pPr>
              <a:endParaRPr lang="th-TH" sz="1600" b="0" dirty="0" smtClean="0">
                <a:latin typeface="Cordia New" pitchFamily="34" charset="-34"/>
                <a:cs typeface="Cordia New" pitchFamily="34" charset="-34"/>
              </a:endParaRPr>
            </a:p>
          </p:txBody>
        </p:sp>
        <p:pic>
          <p:nvPicPr>
            <p:cNvPr id="291" name="Picture 6"/>
            <p:cNvPicPr>
              <a:picLocks noChangeAspect="1" noChangeArrowheads="1"/>
            </p:cNvPicPr>
            <p:nvPr>
              <p:custDataLst>
                <p:tags r:id="rId93"/>
              </p:custDataLst>
            </p:nvPr>
          </p:nvPicPr>
          <p:blipFill>
            <a:blip r:embed="rId9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5526" y="2598368"/>
              <a:ext cx="829952" cy="558281"/>
            </a:xfrm>
            <a:prstGeom prst="roundRect">
              <a:avLst/>
            </a:prstGeom>
            <a:gradFill flip="none" rotWithShape="1">
              <a:gsLst>
                <a:gs pos="0">
                  <a:schemeClr val="accent2">
                    <a:lumMod val="40000"/>
                    <a:lumOff val="60000"/>
                    <a:shade val="30000"/>
                    <a:satMod val="115000"/>
                  </a:schemeClr>
                </a:gs>
                <a:gs pos="50000">
                  <a:schemeClr val="accent2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accent2">
                    <a:lumMod val="40000"/>
                    <a:lumOff val="6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pic>
        <p:sp>
          <p:nvSpPr>
            <p:cNvPr id="292" name="Rectangle 291"/>
            <p:cNvSpPr/>
            <p:nvPr>
              <p:custDataLst>
                <p:tags r:id="rId94"/>
              </p:custDataLst>
            </p:nvPr>
          </p:nvSpPr>
          <p:spPr bwMode="auto">
            <a:xfrm>
              <a:off x="5889104" y="2627955"/>
              <a:ext cx="298761" cy="16385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i="1" dirty="0" smtClean="0">
                  <a:solidFill>
                    <a:schemeClr val="bg1"/>
                  </a:solidFill>
                  <a:latin typeface="Cordia New" pitchFamily="34" charset="-34"/>
                  <a:cs typeface="Cordia New" pitchFamily="34" charset="-34"/>
                </a:rPr>
                <a:t>NC</a:t>
              </a:r>
              <a:endParaRPr lang="th-TH" sz="2000" i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endParaRPr>
            </a:p>
          </p:txBody>
        </p:sp>
      </p:grpSp>
      <p:sp>
        <p:nvSpPr>
          <p:cNvPr id="294" name="Right Arrow 293"/>
          <p:cNvSpPr/>
          <p:nvPr>
            <p:custDataLst>
              <p:tags r:id="rId9"/>
            </p:custDataLst>
          </p:nvPr>
        </p:nvSpPr>
        <p:spPr bwMode="auto">
          <a:xfrm rot="7887134" flipV="1">
            <a:off x="4025628" y="3778614"/>
            <a:ext cx="370010" cy="456095"/>
          </a:xfrm>
          <a:prstGeom prst="right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97" name="Rectangle 296"/>
          <p:cNvSpPr/>
          <p:nvPr>
            <p:custDataLst>
              <p:tags r:id="rId10"/>
            </p:custDataLst>
          </p:nvPr>
        </p:nvSpPr>
        <p:spPr bwMode="auto">
          <a:xfrm>
            <a:off x="5923620" y="1093443"/>
            <a:ext cx="2645135" cy="25691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grpSp>
        <p:nvGrpSpPr>
          <p:cNvPr id="298" name="Group 297"/>
          <p:cNvGrpSpPr/>
          <p:nvPr>
            <p:custDataLst>
              <p:tags r:id="rId11"/>
            </p:custDataLst>
          </p:nvPr>
        </p:nvGrpSpPr>
        <p:grpSpPr>
          <a:xfrm>
            <a:off x="6261518" y="1579234"/>
            <a:ext cx="2054898" cy="1766251"/>
            <a:chOff x="-65023" y="2374624"/>
            <a:chExt cx="3919376" cy="3796084"/>
          </a:xfrm>
        </p:grpSpPr>
        <p:sp>
          <p:nvSpPr>
            <p:cNvPr id="299" name="Rounded Rectangle 298"/>
            <p:cNvSpPr/>
            <p:nvPr/>
          </p:nvSpPr>
          <p:spPr>
            <a:xfrm>
              <a:off x="126817" y="2374624"/>
              <a:ext cx="2308978" cy="926359"/>
            </a:xfrm>
            <a:prstGeom prst="roundRect">
              <a:avLst/>
            </a:prstGeom>
            <a:ln w="9525">
              <a:solidFill>
                <a:srgbClr val="FF3300"/>
              </a:solidFill>
              <a:prstDash val="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pic>
          <p:nvPicPr>
            <p:cNvPr id="300" name="Picture 31"/>
            <p:cNvPicPr>
              <a:picLocks noChangeAspect="1" noChangeArrowheads="1"/>
            </p:cNvPicPr>
            <p:nvPr/>
          </p:nvPicPr>
          <p:blipFill>
            <a:blip r:embed="rId9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65023" y="3426512"/>
              <a:ext cx="2861018" cy="11994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01" name="TextBox 300"/>
            <p:cNvSpPr txBox="1"/>
            <p:nvPr/>
          </p:nvSpPr>
          <p:spPr>
            <a:xfrm>
              <a:off x="2800964" y="5010129"/>
              <a:ext cx="738409" cy="7111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00" b="1" dirty="0" smtClean="0"/>
                <a:t>Access Point</a:t>
              </a:r>
            </a:p>
            <a:p>
              <a:pPr algn="ctr"/>
              <a:endParaRPr lang="en-US" sz="1000" b="1" dirty="0"/>
            </a:p>
          </p:txBody>
        </p:sp>
        <p:pic>
          <p:nvPicPr>
            <p:cNvPr id="302" name="Picture 5"/>
            <p:cNvPicPr>
              <a:picLocks noChangeAspect="1" noChangeArrowheads="1"/>
            </p:cNvPicPr>
            <p:nvPr/>
          </p:nvPicPr>
          <p:blipFill>
            <a:blip r:embed="rId10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88130" y="3132207"/>
              <a:ext cx="388456" cy="5285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3" name="Picture 6"/>
            <p:cNvPicPr>
              <a:picLocks noChangeAspect="1" noChangeArrowheads="1"/>
            </p:cNvPicPr>
            <p:nvPr/>
          </p:nvPicPr>
          <p:blipFill>
            <a:blip r:embed="rId10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230029">
              <a:off x="3409746" y="3019123"/>
              <a:ext cx="209995" cy="3624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4" name="Picture 12"/>
            <p:cNvPicPr>
              <a:picLocks noChangeAspect="1" noChangeArrowheads="1"/>
            </p:cNvPicPr>
            <p:nvPr/>
          </p:nvPicPr>
          <p:blipFill>
            <a:blip r:embed="rId10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1625" y="4567741"/>
              <a:ext cx="453495" cy="4235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05" name="TextBox 304"/>
            <p:cNvSpPr txBox="1"/>
            <p:nvPr/>
          </p:nvSpPr>
          <p:spPr>
            <a:xfrm>
              <a:off x="2621403" y="4269747"/>
              <a:ext cx="1232950" cy="4293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00" b="1" dirty="0" smtClean="0"/>
                <a:t>Bus Driver Console (BDC)</a:t>
              </a:r>
              <a:endParaRPr lang="en-US" sz="1000" b="1" dirty="0"/>
            </a:p>
          </p:txBody>
        </p:sp>
        <p:pic>
          <p:nvPicPr>
            <p:cNvPr id="306" name="Picture 14"/>
            <p:cNvPicPr>
              <a:picLocks noChangeAspect="1" noChangeArrowheads="1"/>
            </p:cNvPicPr>
            <p:nvPr/>
          </p:nvPicPr>
          <p:blipFill>
            <a:blip r:embed="rId10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0605" y="3869327"/>
              <a:ext cx="117185" cy="1278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07" name="Rectangle 306"/>
            <p:cNvSpPr/>
            <p:nvPr/>
          </p:nvSpPr>
          <p:spPr>
            <a:xfrm>
              <a:off x="2506168" y="2708931"/>
              <a:ext cx="1328015" cy="56358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500" b="1" dirty="0" smtClean="0"/>
                <a:t>Cellular Network</a:t>
              </a:r>
            </a:p>
            <a:p>
              <a:pPr algn="ctr"/>
              <a:r>
                <a:rPr lang="en-US" sz="500" b="1" dirty="0" smtClean="0"/>
                <a:t>GPRS, EDGE, 3G, LTE</a:t>
              </a:r>
              <a:endParaRPr lang="en-US" sz="500" b="1" dirty="0"/>
            </a:p>
          </p:txBody>
        </p:sp>
        <p:cxnSp>
          <p:nvCxnSpPr>
            <p:cNvPr id="308" name="Straight Connector 307"/>
            <p:cNvCxnSpPr/>
            <p:nvPr/>
          </p:nvCxnSpPr>
          <p:spPr>
            <a:xfrm>
              <a:off x="3188893" y="4458959"/>
              <a:ext cx="0" cy="20963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Straight Connector 308"/>
            <p:cNvCxnSpPr/>
            <p:nvPr/>
          </p:nvCxnSpPr>
          <p:spPr>
            <a:xfrm>
              <a:off x="3188893" y="3685604"/>
              <a:ext cx="0" cy="13118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0" name="Picture 25"/>
            <p:cNvPicPr>
              <a:picLocks noChangeAspect="1" noChangeArrowheads="1"/>
            </p:cNvPicPr>
            <p:nvPr/>
          </p:nvPicPr>
          <p:blipFill>
            <a:blip r:embed="rId10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0540" y="2892058"/>
              <a:ext cx="317204" cy="3184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11" name="Rectangle 310"/>
            <p:cNvSpPr/>
            <p:nvPr/>
          </p:nvSpPr>
          <p:spPr>
            <a:xfrm>
              <a:off x="782303" y="2572636"/>
              <a:ext cx="1532070" cy="536748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700" cap="none" spc="0" dirty="0" smtClean="0">
                  <a:ln w="1905"/>
                  <a:solidFill>
                    <a:srgbClr val="0000FF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Bus Management</a:t>
              </a:r>
            </a:p>
            <a:p>
              <a:r>
                <a:rPr lang="en-US" sz="700" cap="none" spc="0" dirty="0" smtClean="0">
                  <a:ln w="1905"/>
                  <a:solidFill>
                    <a:srgbClr val="0000FF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 System (BMS)</a:t>
              </a:r>
              <a:endParaRPr lang="en-US" sz="700" cap="none" spc="0" dirty="0">
                <a:ln w="1905"/>
                <a:solidFill>
                  <a:srgbClr val="0000FF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endParaRPr>
            </a:p>
          </p:txBody>
        </p:sp>
        <p:sp>
          <p:nvSpPr>
            <p:cNvPr id="312" name="Rectangle 311"/>
            <p:cNvSpPr/>
            <p:nvPr/>
          </p:nvSpPr>
          <p:spPr>
            <a:xfrm>
              <a:off x="1702375" y="3429003"/>
              <a:ext cx="496450" cy="268373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400" dirty="0"/>
                <a:t>GPS</a:t>
              </a:r>
            </a:p>
          </p:txBody>
        </p:sp>
        <p:pic>
          <p:nvPicPr>
            <p:cNvPr id="313" name="Picture 27"/>
            <p:cNvPicPr>
              <a:picLocks noChangeAspect="1" noChangeArrowheads="1"/>
            </p:cNvPicPr>
            <p:nvPr/>
          </p:nvPicPr>
          <p:blipFill>
            <a:blip r:embed="rId10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716031">
              <a:off x="2465024" y="2960424"/>
              <a:ext cx="480585" cy="394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14" name="Picture 2" descr="C:\Users\Thanida\Desktop\Wqrk\Untitled-1.gif"/>
            <p:cNvPicPr>
              <a:picLocks noChangeAspect="1" noChangeArrowheads="1"/>
            </p:cNvPicPr>
            <p:nvPr/>
          </p:nvPicPr>
          <p:blipFill>
            <a:blip r:embed="rId10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>
              <a:fillRect/>
            </a:stretch>
          </p:blipFill>
          <p:spPr bwMode="auto">
            <a:xfrm rot="9834055">
              <a:off x="2119181" y="3492886"/>
              <a:ext cx="306807" cy="223044"/>
            </a:xfrm>
            <a:prstGeom prst="rect">
              <a:avLst/>
            </a:prstGeom>
            <a:noFill/>
          </p:spPr>
        </p:pic>
        <p:pic>
          <p:nvPicPr>
            <p:cNvPr id="315" name="Picture 29"/>
            <p:cNvPicPr>
              <a:picLocks noChangeAspect="1" noChangeArrowheads="1"/>
            </p:cNvPicPr>
            <p:nvPr/>
          </p:nvPicPr>
          <p:blipFill>
            <a:blip r:embed="rId10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526" y="2564916"/>
              <a:ext cx="656899" cy="448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16" name="Oval 315"/>
            <p:cNvSpPr/>
            <p:nvPr>
              <p:custDataLst>
                <p:tags r:id="rId75"/>
              </p:custDataLst>
            </p:nvPr>
          </p:nvSpPr>
          <p:spPr bwMode="auto">
            <a:xfrm>
              <a:off x="1994385" y="4131997"/>
              <a:ext cx="96618" cy="108871"/>
            </a:xfrm>
            <a:prstGeom prst="ellipse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 anchor="ctr"/>
            <a:lstStyle/>
            <a:p>
              <a:pPr algn="ctr">
                <a:lnSpc>
                  <a:spcPts val="1700"/>
                </a:lnSpc>
              </a:pPr>
              <a:endParaRPr lang="th-TH" sz="400" b="1" dirty="0" smtClean="0">
                <a:latin typeface="Cordia New" pitchFamily="34" charset="-34"/>
                <a:cs typeface="Cordia New" pitchFamily="34" charset="-34"/>
              </a:endParaRPr>
            </a:p>
          </p:txBody>
        </p:sp>
        <p:sp>
          <p:nvSpPr>
            <p:cNvPr id="317" name="Oval 316"/>
            <p:cNvSpPr/>
            <p:nvPr>
              <p:custDataLst>
                <p:tags r:id="rId76"/>
              </p:custDataLst>
            </p:nvPr>
          </p:nvSpPr>
          <p:spPr bwMode="auto">
            <a:xfrm>
              <a:off x="1340357" y="3971014"/>
              <a:ext cx="96618" cy="108871"/>
            </a:xfrm>
            <a:prstGeom prst="ellipse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 anchor="ctr"/>
            <a:lstStyle/>
            <a:p>
              <a:pPr algn="ctr">
                <a:lnSpc>
                  <a:spcPts val="1700"/>
                </a:lnSpc>
              </a:pPr>
              <a:endParaRPr lang="th-TH" sz="400" b="1" dirty="0" smtClean="0">
                <a:latin typeface="Cordia New" pitchFamily="34" charset="-34"/>
                <a:cs typeface="Cordia New" pitchFamily="34" charset="-34"/>
              </a:endParaRPr>
            </a:p>
          </p:txBody>
        </p:sp>
        <p:sp>
          <p:nvSpPr>
            <p:cNvPr id="318" name="Oval 317"/>
            <p:cNvSpPr/>
            <p:nvPr>
              <p:custDataLst>
                <p:tags r:id="rId77"/>
              </p:custDataLst>
            </p:nvPr>
          </p:nvSpPr>
          <p:spPr bwMode="auto">
            <a:xfrm>
              <a:off x="537786" y="3845180"/>
              <a:ext cx="87834" cy="98974"/>
            </a:xfrm>
            <a:prstGeom prst="ellipse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 anchor="ctr"/>
            <a:lstStyle/>
            <a:p>
              <a:pPr algn="ctr">
                <a:lnSpc>
                  <a:spcPts val="1700"/>
                </a:lnSpc>
              </a:pPr>
              <a:endParaRPr lang="th-TH" sz="300" dirty="0" smtClean="0">
                <a:latin typeface="Cordia New" pitchFamily="34" charset="-34"/>
                <a:cs typeface="Cordia New" pitchFamily="34" charset="-34"/>
              </a:endParaRPr>
            </a:p>
          </p:txBody>
        </p:sp>
        <p:pic>
          <p:nvPicPr>
            <p:cNvPr id="319" name="Picture 4"/>
            <p:cNvPicPr>
              <a:picLocks noChangeAspect="1" noChangeArrowheads="1"/>
            </p:cNvPicPr>
            <p:nvPr>
              <p:custDataLst>
                <p:tags r:id="rId78"/>
              </p:custDataLst>
            </p:nvPr>
          </p:nvPicPr>
          <p:blipFill>
            <a:blip r:embed="rId10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576" y="4869166"/>
              <a:ext cx="579578" cy="7371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0" name="Picture 4"/>
            <p:cNvPicPr>
              <a:picLocks noChangeAspect="1" noChangeArrowheads="1"/>
            </p:cNvPicPr>
            <p:nvPr>
              <p:custDataLst>
                <p:tags r:id="rId79"/>
              </p:custDataLst>
            </p:nvPr>
          </p:nvPicPr>
          <p:blipFill>
            <a:blip r:embed="rId10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98" y="4845795"/>
              <a:ext cx="579578" cy="7371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321" name="Elbow Connector 320"/>
            <p:cNvCxnSpPr>
              <a:stCxn id="320" idx="0"/>
              <a:endCxn id="317" idx="4"/>
            </p:cNvCxnSpPr>
            <p:nvPr>
              <p:custDataLst>
                <p:tags r:id="rId80"/>
              </p:custDataLst>
            </p:nvPr>
          </p:nvCxnSpPr>
          <p:spPr bwMode="auto">
            <a:xfrm rot="5400000" flipH="1" flipV="1">
              <a:off x="503774" y="3960901"/>
              <a:ext cx="765904" cy="1003879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2" name="Elbow Connector 321"/>
            <p:cNvCxnSpPr>
              <a:stCxn id="320" idx="0"/>
              <a:endCxn id="318" idx="4"/>
            </p:cNvCxnSpPr>
            <p:nvPr>
              <p:custDataLst>
                <p:tags r:id="rId81"/>
              </p:custDataLst>
            </p:nvPr>
          </p:nvCxnSpPr>
          <p:spPr bwMode="auto">
            <a:xfrm rot="5400000" flipH="1" flipV="1">
              <a:off x="32431" y="4296514"/>
              <a:ext cx="901635" cy="196916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3" name="Elbow Connector 94"/>
            <p:cNvCxnSpPr>
              <a:stCxn id="319" idx="0"/>
              <a:endCxn id="316" idx="4"/>
            </p:cNvCxnSpPr>
            <p:nvPr>
              <p:custDataLst>
                <p:tags r:id="rId82"/>
              </p:custDataLst>
            </p:nvPr>
          </p:nvCxnSpPr>
          <p:spPr bwMode="auto">
            <a:xfrm rot="5400000" flipH="1" flipV="1">
              <a:off x="1229883" y="4056352"/>
              <a:ext cx="628292" cy="997329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24" name="Rectangle 323"/>
            <p:cNvSpPr/>
            <p:nvPr>
              <p:custDataLst>
                <p:tags r:id="rId83"/>
              </p:custDataLst>
            </p:nvPr>
          </p:nvSpPr>
          <p:spPr bwMode="auto">
            <a:xfrm>
              <a:off x="-36509" y="5623230"/>
              <a:ext cx="865487" cy="15927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>
                <a:lnSpc>
                  <a:spcPts val="1700"/>
                </a:lnSpc>
              </a:pPr>
              <a:r>
                <a:rPr lang="en-US" sz="800" b="1" dirty="0" smtClean="0">
                  <a:latin typeface="Cordia New" pitchFamily="34" charset="-34"/>
                  <a:cs typeface="Cordia New" pitchFamily="34" charset="-34"/>
                </a:rPr>
                <a:t>Exit Reader</a:t>
              </a:r>
              <a:endParaRPr lang="th-TH" sz="800" b="1" dirty="0" smtClean="0">
                <a:latin typeface="Cordia New" pitchFamily="34" charset="-34"/>
                <a:cs typeface="Cordia New" pitchFamily="34" charset="-34"/>
              </a:endParaRPr>
            </a:p>
          </p:txBody>
        </p:sp>
        <p:sp>
          <p:nvSpPr>
            <p:cNvPr id="325" name="Oval 324"/>
            <p:cNvSpPr/>
            <p:nvPr>
              <p:custDataLst>
                <p:tags r:id="rId84"/>
              </p:custDataLst>
            </p:nvPr>
          </p:nvSpPr>
          <p:spPr bwMode="auto">
            <a:xfrm>
              <a:off x="2237752" y="4023123"/>
              <a:ext cx="96618" cy="108871"/>
            </a:xfrm>
            <a:prstGeom prst="ellipse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 anchor="ctr"/>
            <a:lstStyle/>
            <a:p>
              <a:pPr algn="ctr">
                <a:lnSpc>
                  <a:spcPts val="1700"/>
                </a:lnSpc>
              </a:pPr>
              <a:endParaRPr lang="th-TH" sz="400" b="1" dirty="0" smtClean="0">
                <a:latin typeface="Cordia New" pitchFamily="34" charset="-34"/>
                <a:cs typeface="Cordia New" pitchFamily="34" charset="-34"/>
              </a:endParaRPr>
            </a:p>
          </p:txBody>
        </p:sp>
        <p:cxnSp>
          <p:nvCxnSpPr>
            <p:cNvPr id="326" name="Elbow Connector 94"/>
            <p:cNvCxnSpPr>
              <a:endCxn id="325" idx="6"/>
            </p:cNvCxnSpPr>
            <p:nvPr>
              <p:custDataLst>
                <p:tags r:id="rId85"/>
              </p:custDataLst>
            </p:nvPr>
          </p:nvCxnSpPr>
          <p:spPr bwMode="auto">
            <a:xfrm flipH="1" flipV="1">
              <a:off x="2334370" y="4077555"/>
              <a:ext cx="536320" cy="167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327" name="Picture 2"/>
            <p:cNvPicPr>
              <a:picLocks noChangeAspect="1" noChangeArrowheads="1"/>
            </p:cNvPicPr>
            <p:nvPr/>
          </p:nvPicPr>
          <p:blipFill>
            <a:blip r:embed="rId10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91929" y="3824980"/>
              <a:ext cx="499896" cy="509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28" name="Straight Connector 327"/>
            <p:cNvCxnSpPr/>
            <p:nvPr/>
          </p:nvCxnSpPr>
          <p:spPr>
            <a:xfrm>
              <a:off x="3388855" y="4836121"/>
              <a:ext cx="0" cy="196657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pic>
          <p:nvPicPr>
            <p:cNvPr id="329" name="Picture 19"/>
            <p:cNvPicPr>
              <a:picLocks noChangeAspect="1" noChangeArrowheads="1"/>
            </p:cNvPicPr>
            <p:nvPr/>
          </p:nvPicPr>
          <p:blipFill>
            <a:blip r:embed="rId1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2833" y="5220469"/>
              <a:ext cx="446972" cy="6567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30" name="Rectangle 329"/>
            <p:cNvSpPr/>
            <p:nvPr>
              <p:custDataLst>
                <p:tags r:id="rId86"/>
              </p:custDataLst>
            </p:nvPr>
          </p:nvSpPr>
          <p:spPr bwMode="auto">
            <a:xfrm>
              <a:off x="1331643" y="6021288"/>
              <a:ext cx="751765" cy="14942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/>
              <a:r>
                <a:rPr lang="en-US" sz="800" b="1" dirty="0" smtClean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rPr>
                <a:t>Handheld Fare</a:t>
              </a:r>
            </a:p>
            <a:p>
              <a:pPr algn="ctr"/>
              <a:r>
                <a:rPr lang="en-US" sz="800" b="1" dirty="0" smtClean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rPr>
                <a:t> Collector</a:t>
              </a:r>
              <a:endParaRPr lang="th-TH" sz="800" b="1" dirty="0">
                <a:solidFill>
                  <a:prstClr val="black"/>
                </a:solidFill>
                <a:latin typeface="Cordia New" pitchFamily="34" charset="-34"/>
              </a:endParaRPr>
            </a:p>
          </p:txBody>
        </p:sp>
        <p:sp>
          <p:nvSpPr>
            <p:cNvPr id="331" name="Rectangle 330"/>
            <p:cNvSpPr/>
            <p:nvPr>
              <p:custDataLst>
                <p:tags r:id="rId87"/>
              </p:custDataLst>
            </p:nvPr>
          </p:nvSpPr>
          <p:spPr bwMode="auto">
            <a:xfrm>
              <a:off x="2283812" y="5942003"/>
              <a:ext cx="751765" cy="14942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>
                <a:lnSpc>
                  <a:spcPts val="1700"/>
                </a:lnSpc>
              </a:pPr>
              <a:r>
                <a:rPr lang="en-US" sz="800" b="1" dirty="0" smtClean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rPr>
                <a:t>Portable checker</a:t>
              </a:r>
              <a:endParaRPr lang="th-TH" sz="800" b="1" dirty="0">
                <a:solidFill>
                  <a:prstClr val="black"/>
                </a:solidFill>
                <a:latin typeface="Cordia New" pitchFamily="34" charset="-34"/>
              </a:endParaRPr>
            </a:p>
          </p:txBody>
        </p:sp>
        <p:pic>
          <p:nvPicPr>
            <p:cNvPr id="332" name="Picture 21"/>
            <p:cNvPicPr>
              <a:picLocks noChangeAspect="1" noChangeArrowheads="1"/>
            </p:cNvPicPr>
            <p:nvPr/>
          </p:nvPicPr>
          <p:blipFill rotWithShape="1">
            <a:blip r:embed="rId1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91" t="3228" r="28165" b="18323"/>
            <a:stretch/>
          </p:blipFill>
          <p:spPr bwMode="auto">
            <a:xfrm>
              <a:off x="1391154" y="5220469"/>
              <a:ext cx="623987" cy="6742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333" name="Elbow Connector 94"/>
            <p:cNvCxnSpPr>
              <a:stCxn id="332" idx="0"/>
            </p:cNvCxnSpPr>
            <p:nvPr>
              <p:custDataLst>
                <p:tags r:id="rId88"/>
              </p:custDataLst>
            </p:nvPr>
          </p:nvCxnSpPr>
          <p:spPr bwMode="auto">
            <a:xfrm rot="5400000" flipH="1" flipV="1">
              <a:off x="1441213" y="4393934"/>
              <a:ext cx="1088471" cy="564600"/>
            </a:xfrm>
            <a:prstGeom prst="bentConnector3">
              <a:avLst>
                <a:gd name="adj1" fmla="val 50000"/>
              </a:avLst>
            </a:prstGeom>
            <a:solidFill>
              <a:srgbClr val="7FD13B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4" name="Elbow Connector 94"/>
            <p:cNvCxnSpPr>
              <a:stCxn id="329" idx="0"/>
              <a:endCxn id="325" idx="4"/>
            </p:cNvCxnSpPr>
            <p:nvPr>
              <p:custDataLst>
                <p:tags r:id="rId89"/>
              </p:custDataLst>
            </p:nvPr>
          </p:nvCxnSpPr>
          <p:spPr bwMode="auto">
            <a:xfrm rot="16200000" flipV="1">
              <a:off x="1911956" y="4506106"/>
              <a:ext cx="1088475" cy="340258"/>
            </a:xfrm>
            <a:prstGeom prst="bentConnector3">
              <a:avLst>
                <a:gd name="adj1" fmla="val 50000"/>
              </a:avLst>
            </a:prstGeom>
            <a:solidFill>
              <a:srgbClr val="7FD13B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35" name="Rectangle 334"/>
            <p:cNvSpPr/>
            <p:nvPr>
              <p:custDataLst>
                <p:tags r:id="rId90"/>
              </p:custDataLst>
            </p:nvPr>
          </p:nvSpPr>
          <p:spPr bwMode="auto">
            <a:xfrm>
              <a:off x="794241" y="5645991"/>
              <a:ext cx="537399" cy="15927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>
                <a:lnSpc>
                  <a:spcPts val="1700"/>
                </a:lnSpc>
              </a:pPr>
              <a:r>
                <a:rPr lang="en-US" sz="800" b="1" dirty="0" smtClean="0">
                  <a:latin typeface="Cordia New" pitchFamily="34" charset="-34"/>
                  <a:cs typeface="Cordia New" pitchFamily="34" charset="-34"/>
                </a:rPr>
                <a:t>Entry Reader</a:t>
              </a:r>
              <a:endParaRPr lang="th-TH" sz="800" b="1" dirty="0" smtClean="0">
                <a:latin typeface="Cordia New" pitchFamily="34" charset="-34"/>
                <a:cs typeface="Cordia New" pitchFamily="34" charset="-34"/>
              </a:endParaRPr>
            </a:p>
          </p:txBody>
        </p:sp>
      </p:grpSp>
      <p:sp>
        <p:nvSpPr>
          <p:cNvPr id="336" name="Rectangle 335"/>
          <p:cNvSpPr/>
          <p:nvPr>
            <p:custDataLst>
              <p:tags r:id="rId12"/>
            </p:custDataLst>
          </p:nvPr>
        </p:nvSpPr>
        <p:spPr bwMode="auto">
          <a:xfrm>
            <a:off x="5911956" y="1092371"/>
            <a:ext cx="2656800" cy="270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latin typeface="Cordia New" pitchFamily="34" charset="-34"/>
                <a:cs typeface="Cordia New" pitchFamily="34" charset="-34"/>
              </a:rPr>
              <a:t>ระบบรถโดยสารสาธารณะ</a:t>
            </a:r>
          </a:p>
        </p:txBody>
      </p:sp>
      <p:sp>
        <p:nvSpPr>
          <p:cNvPr id="338" name="Rectangle 337"/>
          <p:cNvSpPr/>
          <p:nvPr>
            <p:custDataLst>
              <p:tags r:id="rId13"/>
            </p:custDataLst>
          </p:nvPr>
        </p:nvSpPr>
        <p:spPr bwMode="auto">
          <a:xfrm>
            <a:off x="5923620" y="3848450"/>
            <a:ext cx="2656801" cy="25948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39" name="Rectangle 338"/>
          <p:cNvSpPr/>
          <p:nvPr>
            <p:custDataLst>
              <p:tags r:id="rId14"/>
            </p:custDataLst>
          </p:nvPr>
        </p:nvSpPr>
        <p:spPr bwMode="auto">
          <a:xfrm>
            <a:off x="5923621" y="3791561"/>
            <a:ext cx="2656800" cy="27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ระบบขนส่งทางน้ำ</a:t>
            </a:r>
          </a:p>
        </p:txBody>
      </p:sp>
      <p:sp>
        <p:nvSpPr>
          <p:cNvPr id="340" name="Rectangle 339"/>
          <p:cNvSpPr/>
          <p:nvPr>
            <p:custDataLst>
              <p:tags r:id="rId15"/>
            </p:custDataLst>
          </p:nvPr>
        </p:nvSpPr>
        <p:spPr>
          <a:xfrm>
            <a:off x="6261882" y="4616301"/>
            <a:ext cx="2116947" cy="1726651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700" b="1" dirty="0">
                <a:solidFill>
                  <a:prstClr val="black"/>
                </a:solidFill>
              </a:rPr>
              <a:t>PEIR</a:t>
            </a:r>
          </a:p>
        </p:txBody>
      </p:sp>
      <p:sp>
        <p:nvSpPr>
          <p:cNvPr id="341" name="Rectangle 340"/>
          <p:cNvSpPr/>
          <p:nvPr>
            <p:custDataLst>
              <p:tags r:id="rId16"/>
            </p:custDataLst>
          </p:nvPr>
        </p:nvSpPr>
        <p:spPr>
          <a:xfrm>
            <a:off x="6261882" y="4347874"/>
            <a:ext cx="2116947" cy="244261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700" b="1" dirty="0">
                <a:solidFill>
                  <a:prstClr val="black"/>
                </a:solidFill>
              </a:rPr>
              <a:t>BMTA HQ</a:t>
            </a:r>
          </a:p>
        </p:txBody>
      </p:sp>
      <p:sp>
        <p:nvSpPr>
          <p:cNvPr id="342" name="Rounded Rectangle 341"/>
          <p:cNvSpPr/>
          <p:nvPr>
            <p:custDataLst>
              <p:tags r:id="rId17"/>
            </p:custDataLst>
          </p:nvPr>
        </p:nvSpPr>
        <p:spPr>
          <a:xfrm>
            <a:off x="6742552" y="4399118"/>
            <a:ext cx="1466735" cy="136649"/>
          </a:xfrm>
          <a:prstGeom prst="roundRect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rgbClr val="FFC0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prstClr val="black"/>
                </a:solidFill>
              </a:rPr>
              <a:t>Bus Concentrator</a:t>
            </a:r>
          </a:p>
        </p:txBody>
      </p:sp>
      <p:cxnSp>
        <p:nvCxnSpPr>
          <p:cNvPr id="343" name="Elbow Connector 342"/>
          <p:cNvCxnSpPr>
            <a:stCxn id="349" idx="0"/>
            <a:endCxn id="342" idx="2"/>
          </p:cNvCxnSpPr>
          <p:nvPr>
            <p:custDataLst>
              <p:tags r:id="rId18"/>
            </p:custDataLst>
          </p:nvPr>
        </p:nvCxnSpPr>
        <p:spPr>
          <a:xfrm rot="5400000" flipH="1" flipV="1">
            <a:off x="7410087" y="4599721"/>
            <a:ext cx="129787" cy="1879"/>
          </a:xfrm>
          <a:prstGeom prst="bentConnector3">
            <a:avLst/>
          </a:prstGeom>
          <a:ln>
            <a:solidFill>
              <a:srgbClr val="C00000"/>
            </a:solidFill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44" name="Rectangle 343"/>
          <p:cNvSpPr/>
          <p:nvPr>
            <p:custDataLst>
              <p:tags r:id="rId19"/>
            </p:custDataLst>
          </p:nvPr>
        </p:nvSpPr>
        <p:spPr>
          <a:xfrm>
            <a:off x="6261882" y="4101905"/>
            <a:ext cx="2116947" cy="218638"/>
          </a:xfrm>
          <a:prstGeom prst="rect">
            <a:avLst/>
          </a:prstGeom>
          <a:noFill/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700" b="1" dirty="0">
                <a:solidFill>
                  <a:prstClr val="black"/>
                </a:solidFill>
              </a:rPr>
              <a:t>CTO</a:t>
            </a:r>
          </a:p>
        </p:txBody>
      </p:sp>
      <p:sp>
        <p:nvSpPr>
          <p:cNvPr id="345" name="Rounded Rectangle 344"/>
          <p:cNvSpPr/>
          <p:nvPr>
            <p:custDataLst>
              <p:tags r:id="rId20"/>
            </p:custDataLst>
          </p:nvPr>
        </p:nvSpPr>
        <p:spPr>
          <a:xfrm>
            <a:off x="6741931" y="4129235"/>
            <a:ext cx="1466735" cy="13664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prstClr val="black"/>
                </a:solidFill>
              </a:rPr>
              <a:t>CCHS</a:t>
            </a:r>
          </a:p>
        </p:txBody>
      </p:sp>
      <p:cxnSp>
        <p:nvCxnSpPr>
          <p:cNvPr id="346" name="Elbow Connector 345"/>
          <p:cNvCxnSpPr>
            <a:stCxn id="342" idx="0"/>
            <a:endCxn id="345" idx="2"/>
          </p:cNvCxnSpPr>
          <p:nvPr>
            <p:custDataLst>
              <p:tags r:id="rId21"/>
            </p:custDataLst>
          </p:nvPr>
        </p:nvCxnSpPr>
        <p:spPr>
          <a:xfrm rot="16200000" flipV="1">
            <a:off x="7408993" y="4332190"/>
            <a:ext cx="133233" cy="622"/>
          </a:xfrm>
          <a:prstGeom prst="bentConnector3">
            <a:avLst/>
          </a:prstGeom>
          <a:ln>
            <a:solidFill>
              <a:srgbClr val="C00000"/>
            </a:solidFill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347" name="Group 346"/>
          <p:cNvGrpSpPr/>
          <p:nvPr>
            <p:custDataLst>
              <p:tags r:id="rId22"/>
            </p:custDataLst>
          </p:nvPr>
        </p:nvGrpSpPr>
        <p:grpSpPr>
          <a:xfrm>
            <a:off x="6668785" y="4967855"/>
            <a:ext cx="809496" cy="251969"/>
            <a:chOff x="2139950" y="4449166"/>
            <a:chExt cx="1974850" cy="1037234"/>
          </a:xfrm>
        </p:grpSpPr>
        <p:grpSp>
          <p:nvGrpSpPr>
            <p:cNvPr id="365" name="Group 364"/>
            <p:cNvGrpSpPr/>
            <p:nvPr/>
          </p:nvGrpSpPr>
          <p:grpSpPr>
            <a:xfrm>
              <a:off x="2139950" y="4449166"/>
              <a:ext cx="1219200" cy="618134"/>
              <a:chOff x="2133600" y="4526851"/>
              <a:chExt cx="1219200" cy="618134"/>
            </a:xfrm>
          </p:grpSpPr>
          <p:sp>
            <p:nvSpPr>
              <p:cNvPr id="380" name="Rounded Rectangle 379"/>
              <p:cNvSpPr/>
              <p:nvPr/>
            </p:nvSpPr>
            <p:spPr>
              <a:xfrm>
                <a:off x="2133600" y="4526851"/>
                <a:ext cx="1219200" cy="256032"/>
              </a:xfrm>
              <a:prstGeom prst="roundRect">
                <a:avLst/>
              </a:prstGeom>
              <a:ln w="3175">
                <a:noFill/>
              </a:ln>
              <a:scene3d>
                <a:camera prst="isometricTopUp"/>
                <a:lightRig rig="threePt" dir="t"/>
              </a:scene3d>
              <a:sp3d extrusionH="742950">
                <a:extrusionClr>
                  <a:schemeClr val="bg1">
                    <a:lumMod val="75000"/>
                  </a:schemeClr>
                </a:extrusionClr>
              </a:sp3d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  <p:sp>
            <p:nvSpPr>
              <p:cNvPr id="381" name="Freeform 380"/>
              <p:cNvSpPr/>
              <p:nvPr/>
            </p:nvSpPr>
            <p:spPr>
              <a:xfrm>
                <a:off x="2532843" y="4712819"/>
                <a:ext cx="195274" cy="83330"/>
              </a:xfrm>
              <a:custGeom>
                <a:avLst/>
                <a:gdLst>
                  <a:gd name="connsiteX0" fmla="*/ 0 w 2212258"/>
                  <a:gd name="connsiteY0" fmla="*/ 560439 h 929149"/>
                  <a:gd name="connsiteX1" fmla="*/ 14748 w 2212258"/>
                  <a:gd name="connsiteY1" fmla="*/ 929149 h 929149"/>
                  <a:gd name="connsiteX2" fmla="*/ 2212258 w 2212258"/>
                  <a:gd name="connsiteY2" fmla="*/ 929149 h 929149"/>
                  <a:gd name="connsiteX3" fmla="*/ 2182761 w 2212258"/>
                  <a:gd name="connsiteY3" fmla="*/ 0 h 929149"/>
                  <a:gd name="connsiteX4" fmla="*/ 0 w 2212258"/>
                  <a:gd name="connsiteY4" fmla="*/ 560439 h 929149"/>
                  <a:gd name="connsiteX0" fmla="*/ 0 w 2227006"/>
                  <a:gd name="connsiteY0" fmla="*/ 545690 h 914400"/>
                  <a:gd name="connsiteX1" fmla="*/ 14748 w 2227006"/>
                  <a:gd name="connsiteY1" fmla="*/ 914400 h 914400"/>
                  <a:gd name="connsiteX2" fmla="*/ 2212258 w 2227006"/>
                  <a:gd name="connsiteY2" fmla="*/ 914400 h 914400"/>
                  <a:gd name="connsiteX3" fmla="*/ 2227006 w 2227006"/>
                  <a:gd name="connsiteY3" fmla="*/ 0 h 914400"/>
                  <a:gd name="connsiteX4" fmla="*/ 0 w 2227006"/>
                  <a:gd name="connsiteY4" fmla="*/ 545690 h 914400"/>
                  <a:gd name="connsiteX0" fmla="*/ 0 w 2212262"/>
                  <a:gd name="connsiteY0" fmla="*/ 1155442 h 1524152"/>
                  <a:gd name="connsiteX1" fmla="*/ 14748 w 2212262"/>
                  <a:gd name="connsiteY1" fmla="*/ 1524152 h 1524152"/>
                  <a:gd name="connsiteX2" fmla="*/ 2212258 w 2212262"/>
                  <a:gd name="connsiteY2" fmla="*/ 1524152 h 1524152"/>
                  <a:gd name="connsiteX3" fmla="*/ 2209609 w 2212262"/>
                  <a:gd name="connsiteY3" fmla="*/ 0 h 1524152"/>
                  <a:gd name="connsiteX4" fmla="*/ 0 w 2212262"/>
                  <a:gd name="connsiteY4" fmla="*/ 1155442 h 1524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2262" h="1524152">
                    <a:moveTo>
                      <a:pt x="0" y="1155442"/>
                    </a:moveTo>
                    <a:lnTo>
                      <a:pt x="14748" y="1524152"/>
                    </a:lnTo>
                    <a:lnTo>
                      <a:pt x="2212258" y="1524152"/>
                    </a:lnTo>
                    <a:lnTo>
                      <a:pt x="2209609" y="0"/>
                    </a:lnTo>
                    <a:lnTo>
                      <a:pt x="0" y="1155442"/>
                    </a:lnTo>
                    <a:close/>
                  </a:path>
                </a:pathLst>
              </a:custGeom>
              <a:ln w="3175">
                <a:noFill/>
              </a:ln>
              <a:effectLst/>
              <a:scene3d>
                <a:camera prst="isometricRightUp"/>
                <a:lightRig rig="threePt" dir="t"/>
              </a:scene3d>
              <a:sp3d extrusionH="152400">
                <a:bevelT w="25400" h="6350"/>
                <a:bevelB w="25400" h="6350"/>
                <a:extrusionClr>
                  <a:schemeClr val="bg1">
                    <a:lumMod val="85000"/>
                  </a:schemeClr>
                </a:extrusionClr>
              </a:sp3d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  <p:sp>
            <p:nvSpPr>
              <p:cNvPr id="382" name="Rounded Rectangle 381"/>
              <p:cNvSpPr/>
              <p:nvPr/>
            </p:nvSpPr>
            <p:spPr>
              <a:xfrm>
                <a:off x="2332932" y="4715764"/>
                <a:ext cx="173736" cy="173736"/>
              </a:xfrm>
              <a:prstGeom prst="roundRect">
                <a:avLst/>
              </a:prstGeom>
              <a:ln>
                <a:noFill/>
              </a:ln>
              <a:effectLst/>
              <a:scene3d>
                <a:camera prst="isometricTopUp"/>
                <a:lightRig rig="threePt" dir="t"/>
              </a:scene3d>
              <a:sp3d extrusionH="31750">
                <a:bevelT w="158750" h="12700"/>
                <a:extrusionClr>
                  <a:schemeClr val="bg1">
                    <a:lumMod val="85000"/>
                  </a:schemeClr>
                </a:extrusionClr>
              </a:sp3d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  <p:pic>
            <p:nvPicPr>
              <p:cNvPr id="383" name="Picture 2"/>
              <p:cNvPicPr>
                <a:picLocks noChangeAspect="1" noChangeArrowheads="1"/>
              </p:cNvPicPr>
              <p:nvPr/>
            </p:nvPicPr>
            <p:blipFill>
              <a:blip r:embed="rId112" cstate="print">
                <a:extLst>
                  <a:ext uri="{BEBA8EAE-BF5A-486C-A8C5-ECC9F3942E4B}">
                    <a14:imgProps xmlns:a14="http://schemas.microsoft.com/office/drawing/2010/main">
                      <a14:imgLayer r:embed="rId113">
                        <a14:imgEffect>
                          <a14:colorTemperature colorTemp="11200"/>
                        </a14:imgEffect>
                        <a14:imgEffect>
                          <a14:saturation sat="400000"/>
                        </a14:imgEffect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39974" y="4741703"/>
                <a:ext cx="158686" cy="143439"/>
              </a:xfrm>
              <a:prstGeom prst="rect">
                <a:avLst/>
              </a:prstGeom>
              <a:noFill/>
              <a:ln>
                <a:noFill/>
              </a:ln>
              <a:effectLst/>
              <a:scene3d>
                <a:camera prst="perspectiveRelaxed">
                  <a:rot lat="19476198" lon="18805528" rev="3566230"/>
                </a:camera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4" name="Rounded Rectangle 383"/>
              <p:cNvSpPr/>
              <p:nvPr/>
            </p:nvSpPr>
            <p:spPr>
              <a:xfrm>
                <a:off x="2501906" y="4640529"/>
                <a:ext cx="123812" cy="152977"/>
              </a:xfrm>
              <a:prstGeom prst="roundRect">
                <a:avLst/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 w="3175">
                <a:solidFill>
                  <a:schemeClr val="tx1"/>
                </a:solidFill>
              </a:ln>
              <a:effectLst/>
              <a:scene3d>
                <a:camera prst="isometricBottomDown">
                  <a:rot lat="1080646" lon="19188918" rev="18808502"/>
                </a:camera>
                <a:lightRig rig="threePt" dir="t"/>
              </a:scene3d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  <p:sp>
            <p:nvSpPr>
              <p:cNvPr id="385" name="Up Arrow 384"/>
              <p:cNvSpPr/>
              <p:nvPr/>
            </p:nvSpPr>
            <p:spPr>
              <a:xfrm>
                <a:off x="2252630" y="5027345"/>
                <a:ext cx="100046" cy="117640"/>
              </a:xfrm>
              <a:prstGeom prst="upArrow">
                <a:avLst/>
              </a:prstGeom>
              <a:solidFill>
                <a:srgbClr val="00FF00"/>
              </a:solidFill>
              <a:ln>
                <a:noFill/>
              </a:ln>
              <a:effectLst/>
              <a:scene3d>
                <a:camera prst="isometricLeftDown"/>
                <a:lightRig rig="threePt" dir="t"/>
              </a:scene3d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66" name="Group 365"/>
            <p:cNvGrpSpPr/>
            <p:nvPr/>
          </p:nvGrpSpPr>
          <p:grpSpPr>
            <a:xfrm>
              <a:off x="2514600" y="4648200"/>
              <a:ext cx="1219200" cy="618134"/>
              <a:chOff x="2133600" y="4526851"/>
              <a:chExt cx="1219200" cy="618134"/>
            </a:xfrm>
          </p:grpSpPr>
          <p:sp>
            <p:nvSpPr>
              <p:cNvPr id="374" name="Rounded Rectangle 373"/>
              <p:cNvSpPr/>
              <p:nvPr/>
            </p:nvSpPr>
            <p:spPr>
              <a:xfrm>
                <a:off x="2133600" y="4526851"/>
                <a:ext cx="1219200" cy="256032"/>
              </a:xfrm>
              <a:prstGeom prst="roundRect">
                <a:avLst/>
              </a:prstGeom>
              <a:ln w="3175">
                <a:noFill/>
              </a:ln>
              <a:scene3d>
                <a:camera prst="isometricTopUp"/>
                <a:lightRig rig="threePt" dir="t"/>
              </a:scene3d>
              <a:sp3d extrusionH="742950">
                <a:extrusionClr>
                  <a:schemeClr val="bg1">
                    <a:lumMod val="75000"/>
                  </a:schemeClr>
                </a:extrusionClr>
              </a:sp3d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  <p:sp>
            <p:nvSpPr>
              <p:cNvPr id="375" name="Freeform 374"/>
              <p:cNvSpPr/>
              <p:nvPr/>
            </p:nvSpPr>
            <p:spPr>
              <a:xfrm>
                <a:off x="2532843" y="4712819"/>
                <a:ext cx="195274" cy="83330"/>
              </a:xfrm>
              <a:custGeom>
                <a:avLst/>
                <a:gdLst>
                  <a:gd name="connsiteX0" fmla="*/ 0 w 2212258"/>
                  <a:gd name="connsiteY0" fmla="*/ 560439 h 929149"/>
                  <a:gd name="connsiteX1" fmla="*/ 14748 w 2212258"/>
                  <a:gd name="connsiteY1" fmla="*/ 929149 h 929149"/>
                  <a:gd name="connsiteX2" fmla="*/ 2212258 w 2212258"/>
                  <a:gd name="connsiteY2" fmla="*/ 929149 h 929149"/>
                  <a:gd name="connsiteX3" fmla="*/ 2182761 w 2212258"/>
                  <a:gd name="connsiteY3" fmla="*/ 0 h 929149"/>
                  <a:gd name="connsiteX4" fmla="*/ 0 w 2212258"/>
                  <a:gd name="connsiteY4" fmla="*/ 560439 h 929149"/>
                  <a:gd name="connsiteX0" fmla="*/ 0 w 2227006"/>
                  <a:gd name="connsiteY0" fmla="*/ 545690 h 914400"/>
                  <a:gd name="connsiteX1" fmla="*/ 14748 w 2227006"/>
                  <a:gd name="connsiteY1" fmla="*/ 914400 h 914400"/>
                  <a:gd name="connsiteX2" fmla="*/ 2212258 w 2227006"/>
                  <a:gd name="connsiteY2" fmla="*/ 914400 h 914400"/>
                  <a:gd name="connsiteX3" fmla="*/ 2227006 w 2227006"/>
                  <a:gd name="connsiteY3" fmla="*/ 0 h 914400"/>
                  <a:gd name="connsiteX4" fmla="*/ 0 w 2227006"/>
                  <a:gd name="connsiteY4" fmla="*/ 545690 h 914400"/>
                  <a:gd name="connsiteX0" fmla="*/ 0 w 2212262"/>
                  <a:gd name="connsiteY0" fmla="*/ 1155442 h 1524152"/>
                  <a:gd name="connsiteX1" fmla="*/ 14748 w 2212262"/>
                  <a:gd name="connsiteY1" fmla="*/ 1524152 h 1524152"/>
                  <a:gd name="connsiteX2" fmla="*/ 2212258 w 2212262"/>
                  <a:gd name="connsiteY2" fmla="*/ 1524152 h 1524152"/>
                  <a:gd name="connsiteX3" fmla="*/ 2209609 w 2212262"/>
                  <a:gd name="connsiteY3" fmla="*/ 0 h 1524152"/>
                  <a:gd name="connsiteX4" fmla="*/ 0 w 2212262"/>
                  <a:gd name="connsiteY4" fmla="*/ 1155442 h 1524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2262" h="1524152">
                    <a:moveTo>
                      <a:pt x="0" y="1155442"/>
                    </a:moveTo>
                    <a:lnTo>
                      <a:pt x="14748" y="1524152"/>
                    </a:lnTo>
                    <a:lnTo>
                      <a:pt x="2212258" y="1524152"/>
                    </a:lnTo>
                    <a:lnTo>
                      <a:pt x="2209609" y="0"/>
                    </a:lnTo>
                    <a:lnTo>
                      <a:pt x="0" y="1155442"/>
                    </a:lnTo>
                    <a:close/>
                  </a:path>
                </a:pathLst>
              </a:custGeom>
              <a:ln w="3175">
                <a:noFill/>
              </a:ln>
              <a:effectLst/>
              <a:scene3d>
                <a:camera prst="isometricRightUp"/>
                <a:lightRig rig="threePt" dir="t"/>
              </a:scene3d>
              <a:sp3d extrusionH="152400">
                <a:bevelT w="25400" h="6350"/>
                <a:bevelB w="25400" h="6350"/>
                <a:extrusionClr>
                  <a:schemeClr val="bg1">
                    <a:lumMod val="85000"/>
                  </a:schemeClr>
                </a:extrusionClr>
              </a:sp3d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  <p:sp>
            <p:nvSpPr>
              <p:cNvPr id="376" name="Rounded Rectangle 375"/>
              <p:cNvSpPr/>
              <p:nvPr/>
            </p:nvSpPr>
            <p:spPr>
              <a:xfrm>
                <a:off x="2332932" y="4715764"/>
                <a:ext cx="173736" cy="173736"/>
              </a:xfrm>
              <a:prstGeom prst="roundRect">
                <a:avLst/>
              </a:prstGeom>
              <a:ln>
                <a:noFill/>
              </a:ln>
              <a:effectLst/>
              <a:scene3d>
                <a:camera prst="isometricTopUp"/>
                <a:lightRig rig="threePt" dir="t"/>
              </a:scene3d>
              <a:sp3d extrusionH="31750">
                <a:bevelT w="158750" h="12700"/>
                <a:extrusionClr>
                  <a:schemeClr val="bg1">
                    <a:lumMod val="85000"/>
                  </a:schemeClr>
                </a:extrusionClr>
              </a:sp3d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  <p:pic>
            <p:nvPicPr>
              <p:cNvPr id="377" name="Picture 2"/>
              <p:cNvPicPr>
                <a:picLocks noChangeAspect="1" noChangeArrowheads="1"/>
              </p:cNvPicPr>
              <p:nvPr/>
            </p:nvPicPr>
            <p:blipFill>
              <a:blip r:embed="rId112" cstate="print">
                <a:extLst>
                  <a:ext uri="{BEBA8EAE-BF5A-486C-A8C5-ECC9F3942E4B}">
                    <a14:imgProps xmlns:a14="http://schemas.microsoft.com/office/drawing/2010/main">
                      <a14:imgLayer r:embed="rId113">
                        <a14:imgEffect>
                          <a14:colorTemperature colorTemp="11200"/>
                        </a14:imgEffect>
                        <a14:imgEffect>
                          <a14:saturation sat="400000"/>
                        </a14:imgEffect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39974" y="4741703"/>
                <a:ext cx="158686" cy="143439"/>
              </a:xfrm>
              <a:prstGeom prst="rect">
                <a:avLst/>
              </a:prstGeom>
              <a:noFill/>
              <a:ln>
                <a:noFill/>
              </a:ln>
              <a:effectLst/>
              <a:scene3d>
                <a:camera prst="perspectiveRelaxed">
                  <a:rot lat="19476198" lon="18805528" rev="3566230"/>
                </a:camera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Rounded Rectangle 377"/>
              <p:cNvSpPr/>
              <p:nvPr/>
            </p:nvSpPr>
            <p:spPr>
              <a:xfrm>
                <a:off x="2501906" y="4640529"/>
                <a:ext cx="123812" cy="152977"/>
              </a:xfrm>
              <a:prstGeom prst="roundRect">
                <a:avLst/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 w="3175">
                <a:solidFill>
                  <a:schemeClr val="tx1"/>
                </a:solidFill>
              </a:ln>
              <a:effectLst/>
              <a:scene3d>
                <a:camera prst="isometricBottomDown">
                  <a:rot lat="1080646" lon="19188918" rev="18808502"/>
                </a:camera>
                <a:lightRig rig="threePt" dir="t"/>
              </a:scene3d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  <p:sp>
            <p:nvSpPr>
              <p:cNvPr id="379" name="Up Arrow 378"/>
              <p:cNvSpPr/>
              <p:nvPr/>
            </p:nvSpPr>
            <p:spPr>
              <a:xfrm>
                <a:off x="2252630" y="5027345"/>
                <a:ext cx="100046" cy="117640"/>
              </a:xfrm>
              <a:prstGeom prst="upArrow">
                <a:avLst/>
              </a:prstGeom>
              <a:solidFill>
                <a:srgbClr val="00FF00"/>
              </a:solidFill>
              <a:ln>
                <a:noFill/>
              </a:ln>
              <a:effectLst/>
              <a:scene3d>
                <a:camera prst="isometricLeftDown"/>
                <a:lightRig rig="threePt" dir="t"/>
              </a:scene3d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67" name="Group 366"/>
            <p:cNvGrpSpPr/>
            <p:nvPr/>
          </p:nvGrpSpPr>
          <p:grpSpPr>
            <a:xfrm>
              <a:off x="2895600" y="4868266"/>
              <a:ext cx="1219200" cy="618134"/>
              <a:chOff x="2133600" y="4526851"/>
              <a:chExt cx="1219200" cy="618134"/>
            </a:xfrm>
          </p:grpSpPr>
          <p:sp>
            <p:nvSpPr>
              <p:cNvPr id="368" name="Rounded Rectangle 367"/>
              <p:cNvSpPr/>
              <p:nvPr/>
            </p:nvSpPr>
            <p:spPr>
              <a:xfrm>
                <a:off x="2133600" y="4526851"/>
                <a:ext cx="1219200" cy="256032"/>
              </a:xfrm>
              <a:prstGeom prst="roundRect">
                <a:avLst/>
              </a:prstGeom>
              <a:ln w="3175">
                <a:noFill/>
              </a:ln>
              <a:scene3d>
                <a:camera prst="isometricTopUp"/>
                <a:lightRig rig="threePt" dir="t"/>
              </a:scene3d>
              <a:sp3d extrusionH="742950">
                <a:extrusionClr>
                  <a:schemeClr val="bg1">
                    <a:lumMod val="75000"/>
                  </a:schemeClr>
                </a:extrusionClr>
              </a:sp3d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  <p:sp>
            <p:nvSpPr>
              <p:cNvPr id="369" name="Freeform 368"/>
              <p:cNvSpPr/>
              <p:nvPr/>
            </p:nvSpPr>
            <p:spPr>
              <a:xfrm>
                <a:off x="2532843" y="4712819"/>
                <a:ext cx="195274" cy="83330"/>
              </a:xfrm>
              <a:custGeom>
                <a:avLst/>
                <a:gdLst>
                  <a:gd name="connsiteX0" fmla="*/ 0 w 2212258"/>
                  <a:gd name="connsiteY0" fmla="*/ 560439 h 929149"/>
                  <a:gd name="connsiteX1" fmla="*/ 14748 w 2212258"/>
                  <a:gd name="connsiteY1" fmla="*/ 929149 h 929149"/>
                  <a:gd name="connsiteX2" fmla="*/ 2212258 w 2212258"/>
                  <a:gd name="connsiteY2" fmla="*/ 929149 h 929149"/>
                  <a:gd name="connsiteX3" fmla="*/ 2182761 w 2212258"/>
                  <a:gd name="connsiteY3" fmla="*/ 0 h 929149"/>
                  <a:gd name="connsiteX4" fmla="*/ 0 w 2212258"/>
                  <a:gd name="connsiteY4" fmla="*/ 560439 h 929149"/>
                  <a:gd name="connsiteX0" fmla="*/ 0 w 2227006"/>
                  <a:gd name="connsiteY0" fmla="*/ 545690 h 914400"/>
                  <a:gd name="connsiteX1" fmla="*/ 14748 w 2227006"/>
                  <a:gd name="connsiteY1" fmla="*/ 914400 h 914400"/>
                  <a:gd name="connsiteX2" fmla="*/ 2212258 w 2227006"/>
                  <a:gd name="connsiteY2" fmla="*/ 914400 h 914400"/>
                  <a:gd name="connsiteX3" fmla="*/ 2227006 w 2227006"/>
                  <a:gd name="connsiteY3" fmla="*/ 0 h 914400"/>
                  <a:gd name="connsiteX4" fmla="*/ 0 w 2227006"/>
                  <a:gd name="connsiteY4" fmla="*/ 545690 h 914400"/>
                  <a:gd name="connsiteX0" fmla="*/ 0 w 2212262"/>
                  <a:gd name="connsiteY0" fmla="*/ 1155442 h 1524152"/>
                  <a:gd name="connsiteX1" fmla="*/ 14748 w 2212262"/>
                  <a:gd name="connsiteY1" fmla="*/ 1524152 h 1524152"/>
                  <a:gd name="connsiteX2" fmla="*/ 2212258 w 2212262"/>
                  <a:gd name="connsiteY2" fmla="*/ 1524152 h 1524152"/>
                  <a:gd name="connsiteX3" fmla="*/ 2209609 w 2212262"/>
                  <a:gd name="connsiteY3" fmla="*/ 0 h 1524152"/>
                  <a:gd name="connsiteX4" fmla="*/ 0 w 2212262"/>
                  <a:gd name="connsiteY4" fmla="*/ 1155442 h 1524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2262" h="1524152">
                    <a:moveTo>
                      <a:pt x="0" y="1155442"/>
                    </a:moveTo>
                    <a:lnTo>
                      <a:pt x="14748" y="1524152"/>
                    </a:lnTo>
                    <a:lnTo>
                      <a:pt x="2212258" y="1524152"/>
                    </a:lnTo>
                    <a:lnTo>
                      <a:pt x="2209609" y="0"/>
                    </a:lnTo>
                    <a:lnTo>
                      <a:pt x="0" y="1155442"/>
                    </a:lnTo>
                    <a:close/>
                  </a:path>
                </a:pathLst>
              </a:custGeom>
              <a:ln w="3175">
                <a:noFill/>
              </a:ln>
              <a:effectLst/>
              <a:scene3d>
                <a:camera prst="isometricRightUp"/>
                <a:lightRig rig="threePt" dir="t"/>
              </a:scene3d>
              <a:sp3d extrusionH="152400">
                <a:bevelT w="25400" h="6350"/>
                <a:bevelB w="25400" h="6350"/>
                <a:extrusionClr>
                  <a:schemeClr val="bg1">
                    <a:lumMod val="85000"/>
                  </a:schemeClr>
                </a:extrusionClr>
              </a:sp3d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  <p:sp>
            <p:nvSpPr>
              <p:cNvPr id="370" name="Rounded Rectangle 369"/>
              <p:cNvSpPr/>
              <p:nvPr/>
            </p:nvSpPr>
            <p:spPr>
              <a:xfrm>
                <a:off x="2332932" y="4715764"/>
                <a:ext cx="173736" cy="173736"/>
              </a:xfrm>
              <a:prstGeom prst="roundRect">
                <a:avLst/>
              </a:prstGeom>
              <a:ln>
                <a:noFill/>
              </a:ln>
              <a:effectLst/>
              <a:scene3d>
                <a:camera prst="isometricTopUp"/>
                <a:lightRig rig="threePt" dir="t"/>
              </a:scene3d>
              <a:sp3d extrusionH="31750">
                <a:bevelT w="158750" h="12700"/>
                <a:extrusionClr>
                  <a:schemeClr val="bg1">
                    <a:lumMod val="85000"/>
                  </a:schemeClr>
                </a:extrusionClr>
              </a:sp3d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  <p:pic>
            <p:nvPicPr>
              <p:cNvPr id="371" name="Picture 2"/>
              <p:cNvPicPr>
                <a:picLocks noChangeAspect="1" noChangeArrowheads="1"/>
              </p:cNvPicPr>
              <p:nvPr/>
            </p:nvPicPr>
            <p:blipFill>
              <a:blip r:embed="rId112" cstate="print">
                <a:extLst>
                  <a:ext uri="{BEBA8EAE-BF5A-486C-A8C5-ECC9F3942E4B}">
                    <a14:imgProps xmlns:a14="http://schemas.microsoft.com/office/drawing/2010/main">
                      <a14:imgLayer r:embed="rId113">
                        <a14:imgEffect>
                          <a14:colorTemperature colorTemp="11200"/>
                        </a14:imgEffect>
                        <a14:imgEffect>
                          <a14:saturation sat="400000"/>
                        </a14:imgEffect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39974" y="4741703"/>
                <a:ext cx="158686" cy="143439"/>
              </a:xfrm>
              <a:prstGeom prst="rect">
                <a:avLst/>
              </a:prstGeom>
              <a:noFill/>
              <a:ln>
                <a:noFill/>
              </a:ln>
              <a:effectLst/>
              <a:scene3d>
                <a:camera prst="perspectiveRelaxed">
                  <a:rot lat="19476198" lon="18805528" rev="3566230"/>
                </a:camera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2" name="Rounded Rectangle 371"/>
              <p:cNvSpPr/>
              <p:nvPr/>
            </p:nvSpPr>
            <p:spPr>
              <a:xfrm>
                <a:off x="2501906" y="4640529"/>
                <a:ext cx="123812" cy="152977"/>
              </a:xfrm>
              <a:prstGeom prst="roundRect">
                <a:avLst/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  <a:shade val="30000"/>
                      <a:satMod val="115000"/>
                    </a:schemeClr>
                  </a:gs>
                  <a:gs pos="50000">
                    <a:schemeClr val="tx1">
                      <a:lumMod val="50000"/>
                      <a:lumOff val="50000"/>
                      <a:shade val="67500"/>
                      <a:satMod val="115000"/>
                    </a:schemeClr>
                  </a:gs>
                  <a:gs pos="100000">
                    <a:schemeClr val="tx1">
                      <a:lumMod val="50000"/>
                      <a:lumOff val="50000"/>
                      <a:shade val="100000"/>
                      <a:satMod val="115000"/>
                    </a:schemeClr>
                  </a:gs>
                </a:gsLst>
                <a:lin ang="2700000" scaled="1"/>
                <a:tileRect/>
              </a:gradFill>
              <a:ln w="3175">
                <a:solidFill>
                  <a:schemeClr val="tx1"/>
                </a:solidFill>
              </a:ln>
              <a:effectLst/>
              <a:scene3d>
                <a:camera prst="isometricBottomDown">
                  <a:rot lat="1080646" lon="19188918" rev="18808502"/>
                </a:camera>
                <a:lightRig rig="threePt" dir="t"/>
              </a:scene3d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  <p:sp>
            <p:nvSpPr>
              <p:cNvPr id="373" name="Up Arrow 372"/>
              <p:cNvSpPr/>
              <p:nvPr/>
            </p:nvSpPr>
            <p:spPr>
              <a:xfrm>
                <a:off x="2252630" y="5027345"/>
                <a:ext cx="100046" cy="117640"/>
              </a:xfrm>
              <a:prstGeom prst="upArrow">
                <a:avLst/>
              </a:prstGeom>
              <a:solidFill>
                <a:srgbClr val="00FF00"/>
              </a:solidFill>
              <a:ln>
                <a:noFill/>
              </a:ln>
              <a:effectLst/>
              <a:scene3d>
                <a:camera prst="isometricLeftDown"/>
                <a:lightRig rig="threePt" dir="t"/>
              </a:scene3d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7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348" name="Group 347"/>
          <p:cNvGrpSpPr/>
          <p:nvPr>
            <p:custDataLst>
              <p:tags r:id="rId23"/>
            </p:custDataLst>
          </p:nvPr>
        </p:nvGrpSpPr>
        <p:grpSpPr>
          <a:xfrm>
            <a:off x="7984976" y="4951032"/>
            <a:ext cx="171688" cy="564850"/>
            <a:chOff x="8932905" y="3283969"/>
            <a:chExt cx="211918" cy="865111"/>
          </a:xfrm>
        </p:grpSpPr>
        <p:sp>
          <p:nvSpPr>
            <p:cNvPr id="359" name="Rounded Rectangle 358"/>
            <p:cNvSpPr/>
            <p:nvPr/>
          </p:nvSpPr>
          <p:spPr>
            <a:xfrm>
              <a:off x="8946762" y="3894908"/>
              <a:ext cx="168233" cy="254172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scene3d>
              <a:camera prst="isometricTopUp"/>
              <a:lightRig rig="threePt" dir="t"/>
            </a:scene3d>
            <a:sp3d extrusionH="76200">
              <a:extrusionClr>
                <a:schemeClr val="bg1">
                  <a:lumMod val="50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>
                <a:solidFill>
                  <a:prstClr val="white"/>
                </a:solidFill>
              </a:endParaRPr>
            </a:p>
          </p:txBody>
        </p:sp>
        <p:sp>
          <p:nvSpPr>
            <p:cNvPr id="360" name="Rounded Rectangle 359"/>
            <p:cNvSpPr/>
            <p:nvPr/>
          </p:nvSpPr>
          <p:spPr>
            <a:xfrm>
              <a:off x="9022556" y="3397687"/>
              <a:ext cx="50470" cy="95060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scene3d>
              <a:camera prst="isometricTopUp"/>
              <a:lightRig rig="threePt" dir="t"/>
            </a:scene3d>
            <a:sp3d extrusionH="762000">
              <a:extrusionClr>
                <a:schemeClr val="bg1">
                  <a:lumMod val="50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>
                <a:solidFill>
                  <a:prstClr val="white"/>
                </a:solidFill>
              </a:endParaRPr>
            </a:p>
          </p:txBody>
        </p:sp>
        <p:sp>
          <p:nvSpPr>
            <p:cNvPr id="361" name="Rounded Rectangle 360"/>
            <p:cNvSpPr/>
            <p:nvPr/>
          </p:nvSpPr>
          <p:spPr>
            <a:xfrm rot="21051345">
              <a:off x="8932905" y="3313323"/>
              <a:ext cx="189262" cy="237649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scene3d>
              <a:camera prst="isometricTopUp"/>
              <a:lightRig rig="threePt" dir="t"/>
            </a:scene3d>
            <a:sp3d extrusionH="44450">
              <a:extrusionClr>
                <a:schemeClr val="tx1">
                  <a:lumMod val="50000"/>
                  <a:lumOff val="50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>
                <a:solidFill>
                  <a:prstClr val="white"/>
                </a:solidFill>
              </a:endParaRPr>
            </a:p>
          </p:txBody>
        </p:sp>
        <p:sp>
          <p:nvSpPr>
            <p:cNvPr id="362" name="Freeform 361"/>
            <p:cNvSpPr/>
            <p:nvPr/>
          </p:nvSpPr>
          <p:spPr>
            <a:xfrm rot="21110566">
              <a:off x="8988432" y="3406962"/>
              <a:ext cx="156391" cy="66906"/>
            </a:xfrm>
            <a:custGeom>
              <a:avLst/>
              <a:gdLst>
                <a:gd name="connsiteX0" fmla="*/ 0 w 2212258"/>
                <a:gd name="connsiteY0" fmla="*/ 560439 h 929149"/>
                <a:gd name="connsiteX1" fmla="*/ 14748 w 2212258"/>
                <a:gd name="connsiteY1" fmla="*/ 929149 h 929149"/>
                <a:gd name="connsiteX2" fmla="*/ 2212258 w 2212258"/>
                <a:gd name="connsiteY2" fmla="*/ 929149 h 929149"/>
                <a:gd name="connsiteX3" fmla="*/ 2182761 w 2212258"/>
                <a:gd name="connsiteY3" fmla="*/ 0 h 929149"/>
                <a:gd name="connsiteX4" fmla="*/ 0 w 2212258"/>
                <a:gd name="connsiteY4" fmla="*/ 560439 h 929149"/>
                <a:gd name="connsiteX0" fmla="*/ 0 w 2227006"/>
                <a:gd name="connsiteY0" fmla="*/ 545690 h 914400"/>
                <a:gd name="connsiteX1" fmla="*/ 14748 w 2227006"/>
                <a:gd name="connsiteY1" fmla="*/ 914400 h 914400"/>
                <a:gd name="connsiteX2" fmla="*/ 2212258 w 2227006"/>
                <a:gd name="connsiteY2" fmla="*/ 914400 h 914400"/>
                <a:gd name="connsiteX3" fmla="*/ 2227006 w 2227006"/>
                <a:gd name="connsiteY3" fmla="*/ 0 h 914400"/>
                <a:gd name="connsiteX4" fmla="*/ 0 w 2227006"/>
                <a:gd name="connsiteY4" fmla="*/ 545690 h 914400"/>
                <a:gd name="connsiteX0" fmla="*/ 0 w 2212262"/>
                <a:gd name="connsiteY0" fmla="*/ 1155442 h 1524152"/>
                <a:gd name="connsiteX1" fmla="*/ 14748 w 2212262"/>
                <a:gd name="connsiteY1" fmla="*/ 1524152 h 1524152"/>
                <a:gd name="connsiteX2" fmla="*/ 2212258 w 2212262"/>
                <a:gd name="connsiteY2" fmla="*/ 1524152 h 1524152"/>
                <a:gd name="connsiteX3" fmla="*/ 2209609 w 2212262"/>
                <a:gd name="connsiteY3" fmla="*/ 0 h 1524152"/>
                <a:gd name="connsiteX4" fmla="*/ 0 w 2212262"/>
                <a:gd name="connsiteY4" fmla="*/ 1155442 h 1524152"/>
                <a:gd name="connsiteX0" fmla="*/ 0 w 2212256"/>
                <a:gd name="connsiteY0" fmla="*/ 1155442 h 1524152"/>
                <a:gd name="connsiteX1" fmla="*/ 14748 w 2212256"/>
                <a:gd name="connsiteY1" fmla="*/ 1524152 h 1524152"/>
                <a:gd name="connsiteX2" fmla="*/ 2212256 w 2212256"/>
                <a:gd name="connsiteY2" fmla="*/ 1148196 h 1524152"/>
                <a:gd name="connsiteX3" fmla="*/ 2209609 w 2212256"/>
                <a:gd name="connsiteY3" fmla="*/ 0 h 1524152"/>
                <a:gd name="connsiteX4" fmla="*/ 0 w 2212256"/>
                <a:gd name="connsiteY4" fmla="*/ 1155442 h 1524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2256" h="1524152">
                  <a:moveTo>
                    <a:pt x="0" y="1155442"/>
                  </a:moveTo>
                  <a:lnTo>
                    <a:pt x="14748" y="1524152"/>
                  </a:lnTo>
                  <a:lnTo>
                    <a:pt x="2212256" y="1148196"/>
                  </a:lnTo>
                  <a:cubicBezTo>
                    <a:pt x="2211374" y="765464"/>
                    <a:pt x="2210491" y="382732"/>
                    <a:pt x="2209609" y="0"/>
                  </a:cubicBezTo>
                  <a:lnTo>
                    <a:pt x="0" y="1155442"/>
                  </a:lnTo>
                  <a:close/>
                </a:path>
              </a:pathLst>
            </a:custGeom>
            <a:ln w="3175">
              <a:noFill/>
            </a:ln>
            <a:effectLst/>
            <a:scene3d>
              <a:camera prst="isometricRightUp"/>
              <a:lightRig rig="threePt" dir="t"/>
            </a:scene3d>
            <a:sp3d extrusionH="234950">
              <a:bevelT w="25400" h="6350"/>
              <a:bevelB w="25400" h="6350"/>
              <a:extrusionClr>
                <a:schemeClr val="bg1">
                  <a:lumMod val="85000"/>
                </a:schemeClr>
              </a:extrusionClr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700">
                <a:solidFill>
                  <a:prstClr val="black"/>
                </a:solidFill>
              </a:endParaRPr>
            </a:p>
          </p:txBody>
        </p:sp>
        <p:pic>
          <p:nvPicPr>
            <p:cNvPr id="363" name="Picture 2"/>
            <p:cNvPicPr>
              <a:picLocks noChangeAspect="1" noChangeArrowheads="1"/>
            </p:cNvPicPr>
            <p:nvPr/>
          </p:nvPicPr>
          <p:blipFill>
            <a:blip r:embed="rId114" cstate="print">
              <a:extLst>
                <a:ext uri="{BEBA8EAE-BF5A-486C-A8C5-ECC9F3942E4B}">
                  <a14:imgProps xmlns:a14="http://schemas.microsoft.com/office/drawing/2010/main">
                    <a14:imgLayer r:embed="rId115">
                      <a14:imgEffect>
                        <a14:colorTemperature colorTemp="11200"/>
                      </a14:imgEffect>
                      <a14:imgEffect>
                        <a14:saturation sat="400000"/>
                      </a14:imgEffect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66476" y="3380041"/>
              <a:ext cx="72988" cy="124264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perspectiveRelaxed">
                <a:rot lat="20184273" lon="19140000" rev="4060095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64" name="Rectangle 363"/>
            <p:cNvSpPr/>
            <p:nvPr/>
          </p:nvSpPr>
          <p:spPr>
            <a:xfrm rot="20831972">
              <a:off x="9018224" y="3283969"/>
              <a:ext cx="56209" cy="141859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  <a:shade val="30000"/>
                    <a:satMod val="115000"/>
                  </a:schemeClr>
                </a:gs>
                <a:gs pos="50000">
                  <a:schemeClr val="tx1">
                    <a:lumMod val="50000"/>
                    <a:lumOff val="50000"/>
                    <a:shade val="67500"/>
                    <a:satMod val="115000"/>
                  </a:schemeClr>
                </a:gs>
                <a:gs pos="100000">
                  <a:schemeClr val="tx1">
                    <a:lumMod val="50000"/>
                    <a:lumOff val="50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3175">
              <a:solidFill>
                <a:schemeClr val="tx1"/>
              </a:solidFill>
            </a:ln>
            <a:scene3d>
              <a:camera prst="isometricTopUp">
                <a:rot lat="19756287" lon="19516954" rev="3262992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>
                <a:solidFill>
                  <a:prstClr val="white"/>
                </a:solidFill>
              </a:endParaRPr>
            </a:p>
          </p:txBody>
        </p:sp>
      </p:grpSp>
      <p:sp>
        <p:nvSpPr>
          <p:cNvPr id="349" name="Rounded Rectangle 348"/>
          <p:cNvSpPr/>
          <p:nvPr>
            <p:custDataLst>
              <p:tags r:id="rId24"/>
            </p:custDataLst>
          </p:nvPr>
        </p:nvSpPr>
        <p:spPr>
          <a:xfrm>
            <a:off x="6790015" y="4665554"/>
            <a:ext cx="1368050" cy="111989"/>
          </a:xfrm>
          <a:prstGeom prst="roundRect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rgbClr val="FFC0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prstClr val="black"/>
                </a:solidFill>
              </a:rPr>
              <a:t>Station Computer</a:t>
            </a:r>
          </a:p>
        </p:txBody>
      </p:sp>
      <p:cxnSp>
        <p:nvCxnSpPr>
          <p:cNvPr id="350" name="Elbow Connector 349"/>
          <p:cNvCxnSpPr>
            <a:stCxn id="380" idx="0"/>
            <a:endCxn id="349" idx="2"/>
          </p:cNvCxnSpPr>
          <p:nvPr>
            <p:custDataLst>
              <p:tags r:id="rId25"/>
            </p:custDataLst>
          </p:nvPr>
        </p:nvCxnSpPr>
        <p:spPr>
          <a:xfrm rot="5400000" flipH="1" flipV="1">
            <a:off x="7101196" y="4595011"/>
            <a:ext cx="190311" cy="555379"/>
          </a:xfrm>
          <a:prstGeom prst="bentConnector3">
            <a:avLst>
              <a:gd name="adj1" fmla="val 50000"/>
            </a:avLst>
          </a:prstGeom>
          <a:ln>
            <a:solidFill>
              <a:srgbClr val="C00000"/>
            </a:solidFill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51" name="Elbow Connector 350"/>
          <p:cNvCxnSpPr>
            <a:stCxn id="349" idx="2"/>
            <a:endCxn id="364" idx="0"/>
          </p:cNvCxnSpPr>
          <p:nvPr>
            <p:custDataLst>
              <p:tags r:id="rId26"/>
            </p:custDataLst>
          </p:nvPr>
        </p:nvCxnSpPr>
        <p:spPr>
          <a:xfrm rot="16200000" flipH="1">
            <a:off x="7681220" y="4570365"/>
            <a:ext cx="174639" cy="588998"/>
          </a:xfrm>
          <a:prstGeom prst="bentConnector3">
            <a:avLst>
              <a:gd name="adj1" fmla="val 50000"/>
            </a:avLst>
          </a:prstGeom>
          <a:ln>
            <a:solidFill>
              <a:srgbClr val="C00000"/>
            </a:solidFill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52" name="TextBox 351"/>
          <p:cNvSpPr txBox="1"/>
          <p:nvPr>
            <p:custDataLst>
              <p:tags r:id="rId27"/>
            </p:custDataLst>
          </p:nvPr>
        </p:nvSpPr>
        <p:spPr>
          <a:xfrm>
            <a:off x="6610447" y="5479866"/>
            <a:ext cx="860280" cy="17404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700" dirty="0" smtClean="0"/>
              <a:t>Gate-based system</a:t>
            </a:r>
            <a:endParaRPr lang="th-TH" sz="700" dirty="0"/>
          </a:p>
        </p:txBody>
      </p:sp>
      <p:sp>
        <p:nvSpPr>
          <p:cNvPr id="353" name="TextBox 352"/>
          <p:cNvSpPr txBox="1"/>
          <p:nvPr>
            <p:custDataLst>
              <p:tags r:id="rId28"/>
            </p:custDataLst>
          </p:nvPr>
        </p:nvSpPr>
        <p:spPr>
          <a:xfrm>
            <a:off x="7543858" y="5491640"/>
            <a:ext cx="844566" cy="17404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700" dirty="0" smtClean="0"/>
              <a:t>Pole-based system</a:t>
            </a:r>
            <a:endParaRPr lang="th-TH" sz="700" dirty="0"/>
          </a:p>
        </p:txBody>
      </p:sp>
      <p:pic>
        <p:nvPicPr>
          <p:cNvPr id="354" name="Picture 4" descr="http://t2.gstatic.com/images?q=tbn:ANd9GcShQg9QDVzonOBUNMr56bG78AhghmVSqszxugBQ9j-ljC7lG53yYA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11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117" y="5675234"/>
            <a:ext cx="1111055" cy="583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5" name="Oval 354"/>
          <p:cNvSpPr/>
          <p:nvPr>
            <p:custDataLst>
              <p:tags r:id="rId30"/>
            </p:custDataLst>
          </p:nvPr>
        </p:nvSpPr>
        <p:spPr>
          <a:xfrm>
            <a:off x="7526429" y="5933004"/>
            <a:ext cx="64016" cy="57469"/>
          </a:xfrm>
          <a:prstGeom prst="ellipse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700"/>
          </a:p>
        </p:txBody>
      </p:sp>
      <p:cxnSp>
        <p:nvCxnSpPr>
          <p:cNvPr id="356" name="Elbow Connector 355"/>
          <p:cNvCxnSpPr>
            <a:stCxn id="355" idx="0"/>
            <a:endCxn id="353" idx="2"/>
          </p:cNvCxnSpPr>
          <p:nvPr>
            <p:custDataLst>
              <p:tags r:id="rId31"/>
            </p:custDataLst>
          </p:nvPr>
        </p:nvCxnSpPr>
        <p:spPr>
          <a:xfrm rot="5400000" flipH="1" flipV="1">
            <a:off x="7628628" y="5595491"/>
            <a:ext cx="267324" cy="407703"/>
          </a:xfrm>
          <a:prstGeom prst="bentConnector3">
            <a:avLst>
              <a:gd name="adj1" fmla="val 50000"/>
            </a:avLst>
          </a:prstGeom>
          <a:ln>
            <a:solidFill>
              <a:srgbClr val="C00000"/>
            </a:solidFill>
            <a:headEnd type="oval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57" name="Elbow Connector 356"/>
          <p:cNvCxnSpPr>
            <a:stCxn id="355" idx="0"/>
            <a:endCxn id="352" idx="2"/>
          </p:cNvCxnSpPr>
          <p:nvPr>
            <p:custDataLst>
              <p:tags r:id="rId32"/>
            </p:custDataLst>
          </p:nvPr>
        </p:nvCxnSpPr>
        <p:spPr>
          <a:xfrm rot="16200000" flipV="1">
            <a:off x="7159965" y="5534530"/>
            <a:ext cx="279097" cy="517851"/>
          </a:xfrm>
          <a:prstGeom prst="bentConnector3">
            <a:avLst>
              <a:gd name="adj1" fmla="val 50000"/>
            </a:avLst>
          </a:prstGeom>
          <a:ln>
            <a:solidFill>
              <a:srgbClr val="C00000"/>
            </a:solidFill>
            <a:headEnd type="oval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58" name="TextBox 357"/>
          <p:cNvSpPr txBox="1"/>
          <p:nvPr>
            <p:custDataLst>
              <p:tags r:id="rId33"/>
            </p:custDataLst>
          </p:nvPr>
        </p:nvSpPr>
        <p:spPr>
          <a:xfrm>
            <a:off x="7540034" y="5066666"/>
            <a:ext cx="380154" cy="19264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200" b="0" dirty="0" smtClean="0">
                <a:latin typeface="Cordia New" pitchFamily="34" charset="-34"/>
                <a:cs typeface="Cordia New" pitchFamily="34" charset="-34"/>
              </a:rPr>
              <a:t>OR</a:t>
            </a:r>
            <a:endParaRPr lang="th-TH" sz="12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86" name="Rectangle 385"/>
          <p:cNvSpPr/>
          <p:nvPr>
            <p:custDataLst>
              <p:tags r:id="rId34"/>
            </p:custDataLst>
          </p:nvPr>
        </p:nvSpPr>
        <p:spPr bwMode="auto">
          <a:xfrm>
            <a:off x="683569" y="3815438"/>
            <a:ext cx="2655258" cy="25948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2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87" name="Rectangle 386"/>
          <p:cNvSpPr/>
          <p:nvPr>
            <p:custDataLst>
              <p:tags r:id="rId35"/>
            </p:custDataLst>
          </p:nvPr>
        </p:nvSpPr>
        <p:spPr bwMode="auto">
          <a:xfrm>
            <a:off x="683569" y="3792208"/>
            <a:ext cx="2655258" cy="269353"/>
          </a:xfrm>
          <a:prstGeom prst="rect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ระบบทางพิเศษ</a:t>
            </a:r>
          </a:p>
        </p:txBody>
      </p:sp>
      <p:grpSp>
        <p:nvGrpSpPr>
          <p:cNvPr id="388" name="Group 387"/>
          <p:cNvGrpSpPr/>
          <p:nvPr>
            <p:custDataLst>
              <p:tags r:id="rId36"/>
            </p:custDataLst>
          </p:nvPr>
        </p:nvGrpSpPr>
        <p:grpSpPr>
          <a:xfrm>
            <a:off x="915421" y="4206617"/>
            <a:ext cx="2000395" cy="1974695"/>
            <a:chOff x="2289700" y="1190702"/>
            <a:chExt cx="5641814" cy="5118618"/>
          </a:xfrm>
        </p:grpSpPr>
        <p:sp>
          <p:nvSpPr>
            <p:cNvPr id="389" name="Rounded Rectangle 388"/>
            <p:cNvSpPr/>
            <p:nvPr/>
          </p:nvSpPr>
          <p:spPr>
            <a:xfrm>
              <a:off x="2429616" y="5792350"/>
              <a:ext cx="2052115" cy="516970"/>
            </a:xfrm>
            <a:prstGeom prst="round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+mj-lt"/>
                  <a:cs typeface="Cordia New" pitchFamily="34" charset="-34"/>
                </a:rPr>
                <a:t>EASY Pass</a:t>
              </a:r>
              <a:endParaRPr lang="en-US" sz="500" b="1" kern="0" noProof="0" dirty="0">
                <a:solidFill>
                  <a:prstClr val="black"/>
                </a:solidFill>
                <a:latin typeface="+mj-lt"/>
                <a:cs typeface="Cordia New" pitchFamily="34" charset="-34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h-TH" sz="600" b="1" kern="0" dirty="0" smtClean="0">
                  <a:solidFill>
                    <a:prstClr val="black"/>
                  </a:solidFill>
                  <a:latin typeface="+mj-lt"/>
                  <a:cs typeface="Cordia New" pitchFamily="34" charset="-34"/>
                </a:rPr>
                <a:t>(ช่องผ่านทางอัตโนมัติ)</a:t>
              </a:r>
              <a:endParaRPr kumimoji="0" lang="en-US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uLnTx/>
                <a:uFillTx/>
                <a:latin typeface="+mj-lt"/>
                <a:cs typeface="Cordia New" pitchFamily="34" charset="-34"/>
              </a:endParaRPr>
            </a:p>
          </p:txBody>
        </p:sp>
        <p:sp>
          <p:nvSpPr>
            <p:cNvPr id="390" name="Rounded Rectangle 389"/>
            <p:cNvSpPr/>
            <p:nvPr/>
          </p:nvSpPr>
          <p:spPr>
            <a:xfrm>
              <a:off x="5508107" y="5792350"/>
              <a:ext cx="2052115" cy="516970"/>
            </a:xfrm>
            <a:prstGeom prst="roundRect">
              <a:avLst/>
            </a:prstGeom>
            <a:solidFill>
              <a:srgbClr val="003300"/>
            </a:soli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uLnTx/>
                  <a:uFillTx/>
                  <a:latin typeface="+mj-lt"/>
                  <a:ea typeface="+mn-ea"/>
                  <a:cs typeface="Cordia New" pitchFamily="34" charset="-34"/>
                </a:rPr>
                <a:t>Touch and</a:t>
              </a:r>
              <a:r>
                <a:rPr kumimoji="0" lang="en-US" sz="500" b="1" i="0" u="none" strike="noStrike" kern="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uLnTx/>
                  <a:uFillTx/>
                  <a:latin typeface="+mj-lt"/>
                  <a:ea typeface="+mn-ea"/>
                  <a:cs typeface="Cordia New" pitchFamily="34" charset="-34"/>
                </a:rPr>
                <a:t> GO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h-TH" sz="600" b="1" kern="0" noProof="0" dirty="0" smtClean="0">
                  <a:solidFill>
                    <a:schemeClr val="bg1"/>
                  </a:solidFill>
                  <a:latin typeface="+mj-lt"/>
                  <a:cs typeface="Cordia New" pitchFamily="34" charset="-34"/>
                </a:rPr>
                <a:t>(แตะแล้วผ่านในช่องเก็บเงินสด)</a:t>
              </a:r>
              <a:endParaRPr kumimoji="0" lang="en-US" sz="5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+mj-lt"/>
                <a:ea typeface="+mn-ea"/>
                <a:cs typeface="Cordia New" pitchFamily="34" charset="-34"/>
              </a:endParaRPr>
            </a:p>
          </p:txBody>
        </p:sp>
        <p:grpSp>
          <p:nvGrpSpPr>
            <p:cNvPr id="391" name="Group 390"/>
            <p:cNvGrpSpPr/>
            <p:nvPr/>
          </p:nvGrpSpPr>
          <p:grpSpPr>
            <a:xfrm>
              <a:off x="2289700" y="1190702"/>
              <a:ext cx="5641814" cy="4552869"/>
              <a:chOff x="2289700" y="1190702"/>
              <a:chExt cx="5641814" cy="4552869"/>
            </a:xfrm>
          </p:grpSpPr>
          <p:pic>
            <p:nvPicPr>
              <p:cNvPr id="392" name="Picture 2"/>
              <p:cNvPicPr>
                <a:picLocks noChangeAspect="1" noChangeArrowheads="1"/>
              </p:cNvPicPr>
              <p:nvPr/>
            </p:nvPicPr>
            <p:blipFill>
              <a:blip r:embed="rId117" cstate="print"/>
              <a:srcRect/>
              <a:stretch>
                <a:fillRect/>
              </a:stretch>
            </p:blipFill>
            <p:spPr bwMode="auto">
              <a:xfrm>
                <a:off x="2289700" y="4877765"/>
                <a:ext cx="1165974" cy="86580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93" name="Picture 392"/>
              <p:cNvPicPr>
                <a:picLocks noChangeAspect="1" noChangeArrowheads="1"/>
              </p:cNvPicPr>
              <p:nvPr/>
            </p:nvPicPr>
            <p:blipFill>
              <a:blip r:embed="rId118" cstate="print">
                <a:lum bright="38000"/>
              </a:blip>
              <a:srcRect/>
              <a:stretch>
                <a:fillRect/>
              </a:stretch>
            </p:blipFill>
            <p:spPr bwMode="auto">
              <a:xfrm>
                <a:off x="6176281" y="4691578"/>
                <a:ext cx="365350" cy="3807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394" name="Picture 393"/>
              <p:cNvPicPr>
                <a:picLocks noChangeAspect="1" noChangeArrowheads="1"/>
              </p:cNvPicPr>
              <p:nvPr/>
            </p:nvPicPr>
            <p:blipFill>
              <a:blip r:embed="rId118" cstate="print">
                <a:lum bright="38000"/>
              </a:blip>
              <a:srcRect/>
              <a:stretch>
                <a:fillRect/>
              </a:stretch>
            </p:blipFill>
            <p:spPr bwMode="auto">
              <a:xfrm>
                <a:off x="3300211" y="4808000"/>
                <a:ext cx="365350" cy="3807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395" name="Picture 2"/>
              <p:cNvPicPr>
                <a:picLocks noChangeAspect="1" noChangeArrowheads="1"/>
              </p:cNvPicPr>
              <p:nvPr/>
            </p:nvPicPr>
            <p:blipFill>
              <a:blip r:embed="rId117" cstate="print"/>
              <a:srcRect/>
              <a:stretch>
                <a:fillRect/>
              </a:stretch>
            </p:blipFill>
            <p:spPr bwMode="auto">
              <a:xfrm>
                <a:off x="4777112" y="4877765"/>
                <a:ext cx="1165974" cy="86580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96" name="Rectangle 395"/>
              <p:cNvSpPr/>
              <p:nvPr/>
            </p:nvSpPr>
            <p:spPr>
              <a:xfrm>
                <a:off x="2445164" y="3980988"/>
                <a:ext cx="777316" cy="137966"/>
              </a:xfrm>
              <a:prstGeom prst="rect">
                <a:avLst/>
              </a:prstGeom>
              <a:gradFill rotWithShape="1">
                <a:gsLst>
                  <a:gs pos="0">
                    <a:srgbClr val="FEB80A">
                      <a:tint val="50000"/>
                      <a:satMod val="300000"/>
                    </a:srgbClr>
                  </a:gs>
                  <a:gs pos="35000">
                    <a:srgbClr val="FEB80A">
                      <a:tint val="37000"/>
                      <a:satMod val="300000"/>
                    </a:srgbClr>
                  </a:gs>
                  <a:gs pos="100000">
                    <a:srgbClr val="FEB80A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FEB80A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sp>
            <p:nvSpPr>
              <p:cNvPr id="397" name="Rectangle 396"/>
              <p:cNvSpPr/>
              <p:nvPr/>
            </p:nvSpPr>
            <p:spPr>
              <a:xfrm>
                <a:off x="3688873" y="3980988"/>
                <a:ext cx="932779" cy="158660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sp>
            <p:nvSpPr>
              <p:cNvPr id="398" name="Rectangle 397"/>
              <p:cNvSpPr/>
              <p:nvPr/>
            </p:nvSpPr>
            <p:spPr>
              <a:xfrm>
                <a:off x="6564943" y="3980988"/>
                <a:ext cx="932779" cy="1586606"/>
              </a:xfrm>
              <a:prstGeom prst="rect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sp>
            <p:nvSpPr>
              <p:cNvPr id="399" name="Rounded Rectangle 398"/>
              <p:cNvSpPr/>
              <p:nvPr/>
            </p:nvSpPr>
            <p:spPr>
              <a:xfrm>
                <a:off x="3727735" y="5329679"/>
                <a:ext cx="855048" cy="206949"/>
              </a:xfrm>
              <a:prstGeom prst="roundRect">
                <a:avLst/>
              </a:prstGeom>
              <a:gradFill rotWithShape="1">
                <a:gsLst>
                  <a:gs pos="0">
                    <a:srgbClr val="738AC8">
                      <a:tint val="50000"/>
                      <a:satMod val="300000"/>
                    </a:srgbClr>
                  </a:gs>
                  <a:gs pos="35000">
                    <a:srgbClr val="738AC8">
                      <a:tint val="37000"/>
                      <a:satMod val="300000"/>
                    </a:srgbClr>
                  </a:gs>
                  <a:gs pos="100000">
                    <a:srgbClr val="738AC8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738AC8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h-TH" sz="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ordia New" pitchFamily="34" charset="-34"/>
                    <a:ea typeface="+mn-ea"/>
                    <a:cs typeface="Cordia New" pitchFamily="34" charset="-34"/>
                  </a:rPr>
                  <a:t>ช่องเก็บเงิน</a:t>
                </a:r>
                <a:endParaRPr kumimoji="0" lang="en-US" sz="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sp>
            <p:nvSpPr>
              <p:cNvPr id="400" name="Rounded Rectangle 399"/>
              <p:cNvSpPr/>
              <p:nvPr/>
            </p:nvSpPr>
            <p:spPr>
              <a:xfrm>
                <a:off x="6613522" y="5329679"/>
                <a:ext cx="855048" cy="206949"/>
              </a:xfrm>
              <a:prstGeom prst="roundRect">
                <a:avLst/>
              </a:prstGeom>
              <a:gradFill rotWithShape="1">
                <a:gsLst>
                  <a:gs pos="0">
                    <a:srgbClr val="738AC8">
                      <a:tint val="50000"/>
                      <a:satMod val="300000"/>
                    </a:srgbClr>
                  </a:gs>
                  <a:gs pos="35000">
                    <a:srgbClr val="738AC8">
                      <a:tint val="37000"/>
                      <a:satMod val="300000"/>
                    </a:srgbClr>
                  </a:gs>
                  <a:gs pos="100000">
                    <a:srgbClr val="738AC8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738AC8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lvl="0" algn="ctr">
                  <a:defRPr/>
                </a:pPr>
                <a:r>
                  <a:rPr lang="th-TH" sz="200" b="1" kern="0" dirty="0">
                    <a:solidFill>
                      <a:prstClr val="black"/>
                    </a:solidFill>
                    <a:latin typeface="Cordia New" pitchFamily="34" charset="-34"/>
                    <a:cs typeface="Cordia New" pitchFamily="34" charset="-34"/>
                  </a:rPr>
                  <a:t>ช่องเก็บเงิน</a:t>
                </a:r>
                <a:endParaRPr lang="en-US" sz="200" b="1" kern="0" dirty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endParaRPr>
              </a:p>
            </p:txBody>
          </p:sp>
          <p:sp>
            <p:nvSpPr>
              <p:cNvPr id="401" name="Rectangle 400"/>
              <p:cNvSpPr/>
              <p:nvPr/>
            </p:nvSpPr>
            <p:spPr>
              <a:xfrm>
                <a:off x="6642671" y="4463868"/>
                <a:ext cx="777316" cy="482880"/>
              </a:xfrm>
              <a:prstGeom prst="rect">
                <a:avLst/>
              </a:prstGeom>
              <a:gradFill rotWithShape="1">
                <a:gsLst>
                  <a:gs pos="0">
                    <a:srgbClr val="7FD13B">
                      <a:tint val="50000"/>
                      <a:satMod val="300000"/>
                    </a:srgbClr>
                  </a:gs>
                  <a:gs pos="35000">
                    <a:srgbClr val="7FD13B">
                      <a:tint val="37000"/>
                      <a:satMod val="300000"/>
                    </a:srgbClr>
                  </a:gs>
                  <a:gs pos="100000">
                    <a:srgbClr val="7FD13B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7FD13B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lvl="0" algn="ctr">
                  <a:defRPr/>
                </a:pPr>
                <a:r>
                  <a:rPr lang="th-TH" sz="400" b="1" kern="0" dirty="0">
                    <a:solidFill>
                      <a:prstClr val="black"/>
                    </a:solidFill>
                    <a:latin typeface="Cordia New" pitchFamily="34" charset="-34"/>
                    <a:cs typeface="Cordia New" pitchFamily="34" charset="-34"/>
                  </a:rPr>
                  <a:t>ระบบทางด่วน</a:t>
                </a:r>
                <a:endParaRPr lang="en-US" sz="400" b="1" kern="0" dirty="0">
                  <a:solidFill>
                    <a:prstClr val="black"/>
                  </a:solidFill>
                  <a:latin typeface="Cordia New" pitchFamily="34" charset="-34"/>
                  <a:cs typeface="Cordia New" pitchFamily="34" charset="-34"/>
                </a:endParaRPr>
              </a:p>
            </p:txBody>
          </p:sp>
          <p:sp>
            <p:nvSpPr>
              <p:cNvPr id="402" name="Rectangle 401"/>
              <p:cNvSpPr/>
              <p:nvPr/>
            </p:nvSpPr>
            <p:spPr>
              <a:xfrm>
                <a:off x="3766601" y="4463868"/>
                <a:ext cx="777316" cy="482880"/>
              </a:xfrm>
              <a:prstGeom prst="rect">
                <a:avLst/>
              </a:prstGeom>
              <a:gradFill rotWithShape="1">
                <a:gsLst>
                  <a:gs pos="0">
                    <a:srgbClr val="FEB80A">
                      <a:tint val="50000"/>
                      <a:satMod val="300000"/>
                    </a:srgbClr>
                  </a:gs>
                  <a:gs pos="35000">
                    <a:srgbClr val="FEB80A">
                      <a:tint val="37000"/>
                      <a:satMod val="300000"/>
                    </a:srgbClr>
                  </a:gs>
                  <a:gs pos="100000">
                    <a:srgbClr val="FEB80A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FEB80A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h-TH" sz="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Cordia New" pitchFamily="34" charset="-34"/>
                    <a:ea typeface="+mn-ea"/>
                    <a:cs typeface="Cordia New" pitchFamily="34" charset="-34"/>
                  </a:rPr>
                  <a:t>ระบบทางด่วน</a:t>
                </a:r>
                <a:endParaRPr kumimoji="0" lang="en-US" sz="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cxnSp>
            <p:nvCxnSpPr>
              <p:cNvPr id="403" name="Elbow Connector 402"/>
              <p:cNvCxnSpPr>
                <a:stCxn id="396" idx="3"/>
              </p:cNvCxnSpPr>
              <p:nvPr/>
            </p:nvCxnSpPr>
            <p:spPr>
              <a:xfrm>
                <a:off x="3222480" y="4049973"/>
                <a:ext cx="746224" cy="413897"/>
              </a:xfrm>
              <a:prstGeom prst="bentConnector2">
                <a:avLst/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cxnSp>
            <p:nvCxnSpPr>
              <p:cNvPr id="404" name="Elbow Connector 403"/>
              <p:cNvCxnSpPr>
                <a:stCxn id="401" idx="0"/>
              </p:cNvCxnSpPr>
              <p:nvPr/>
            </p:nvCxnSpPr>
            <p:spPr>
              <a:xfrm rot="16200000" flipH="1" flipV="1">
                <a:off x="6327062" y="4147594"/>
                <a:ext cx="206949" cy="839502"/>
              </a:xfrm>
              <a:prstGeom prst="bentConnector3">
                <a:avLst>
                  <a:gd name="adj1" fmla="val -100000"/>
                </a:avLst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sp>
            <p:nvSpPr>
              <p:cNvPr id="405" name="Rounded Rectangle 404"/>
              <p:cNvSpPr/>
              <p:nvPr/>
            </p:nvSpPr>
            <p:spPr>
              <a:xfrm>
                <a:off x="3470723" y="2156462"/>
                <a:ext cx="1377793" cy="482880"/>
              </a:xfrm>
              <a:prstGeom prst="roundRect">
                <a:avLst/>
              </a:prstGeom>
              <a:gradFill rotWithShape="1">
                <a:gsLst>
                  <a:gs pos="0">
                    <a:srgbClr val="FEB80A">
                      <a:tint val="50000"/>
                      <a:satMod val="300000"/>
                    </a:srgbClr>
                  </a:gs>
                  <a:gs pos="35000">
                    <a:srgbClr val="FEB80A">
                      <a:tint val="37000"/>
                      <a:satMod val="300000"/>
                    </a:srgbClr>
                  </a:gs>
                  <a:gs pos="100000">
                    <a:srgbClr val="FEB80A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FEB80A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+mj-lt"/>
                    <a:ea typeface="+mn-ea"/>
                    <a:cs typeface="Cordia New" pitchFamily="34" charset="-34"/>
                  </a:rPr>
                  <a:t>EXAT CCS</a:t>
                </a:r>
              </a:p>
            </p:txBody>
          </p:sp>
          <p:sp>
            <p:nvSpPr>
              <p:cNvPr id="406" name="Rounded Rectangle 405"/>
              <p:cNvSpPr/>
              <p:nvPr/>
            </p:nvSpPr>
            <p:spPr>
              <a:xfrm>
                <a:off x="4621649" y="1190702"/>
                <a:ext cx="1865559" cy="427248"/>
              </a:xfrm>
              <a:prstGeom prst="roundRect">
                <a:avLst/>
              </a:prstGeom>
              <a:gradFill rotWithShape="1">
                <a:gsLst>
                  <a:gs pos="0">
                    <a:srgbClr val="7FD13B">
                      <a:tint val="50000"/>
                      <a:satMod val="300000"/>
                    </a:srgbClr>
                  </a:gs>
                  <a:gs pos="35000">
                    <a:srgbClr val="7FD13B">
                      <a:tint val="37000"/>
                      <a:satMod val="300000"/>
                    </a:srgbClr>
                  </a:gs>
                  <a:gs pos="100000">
                    <a:srgbClr val="7FD13B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7FD13B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+mj-lt"/>
                    <a:ea typeface="+mn-ea"/>
                    <a:cs typeface="Cordia New" pitchFamily="34" charset="-34"/>
                  </a:rPr>
                  <a:t>CCH</a:t>
                </a:r>
                <a:endParaRPr kumimoji="0" lang="en-US" sz="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+mj-lt"/>
                  <a:ea typeface="+mn-ea"/>
                  <a:cs typeface="Cordia New" pitchFamily="34" charset="-34"/>
                </a:endParaRPr>
              </a:p>
            </p:txBody>
          </p:sp>
          <p:cxnSp>
            <p:nvCxnSpPr>
              <p:cNvPr id="407" name="Shape 50"/>
              <p:cNvCxnSpPr>
                <a:stCxn id="402" idx="0"/>
                <a:endCxn id="418" idx="2"/>
              </p:cNvCxnSpPr>
              <p:nvPr/>
            </p:nvCxnSpPr>
            <p:spPr>
              <a:xfrm rot="5400000" flipH="1" flipV="1">
                <a:off x="3694631" y="3998887"/>
                <a:ext cx="925612" cy="4357"/>
              </a:xfrm>
              <a:prstGeom prst="bentConnector3">
                <a:avLst>
                  <a:gd name="adj1" fmla="val 50000"/>
                </a:avLst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cxnSp>
            <p:nvCxnSpPr>
              <p:cNvPr id="408" name="Shape 52"/>
              <p:cNvCxnSpPr>
                <a:stCxn id="401" idx="0"/>
                <a:endCxn id="419" idx="2"/>
              </p:cNvCxnSpPr>
              <p:nvPr/>
            </p:nvCxnSpPr>
            <p:spPr>
              <a:xfrm rot="5400000" flipH="1" flipV="1">
                <a:off x="6569494" y="4000096"/>
                <a:ext cx="925612" cy="1943"/>
              </a:xfrm>
              <a:prstGeom prst="bentConnector3">
                <a:avLst>
                  <a:gd name="adj1" fmla="val 50000"/>
                </a:avLst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pic>
            <p:nvPicPr>
              <p:cNvPr id="409" name="Picture 2" descr="C:\Users\Thanida\Desktop\Wqrk\Untitled-1.gif"/>
              <p:cNvPicPr>
                <a:picLocks noChangeAspect="1" noChangeArrowheads="1"/>
              </p:cNvPicPr>
              <p:nvPr/>
            </p:nvPicPr>
            <p:blipFill>
              <a:blip r:embed="rId119" cstate="print">
                <a:duotone>
                  <a:srgbClr val="EA157A">
                    <a:shade val="45000"/>
                    <a:satMod val="135000"/>
                  </a:srgb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2367435" y="4170691"/>
                <a:ext cx="903630" cy="569109"/>
              </a:xfrm>
              <a:prstGeom prst="rect">
                <a:avLst/>
              </a:prstGeom>
              <a:noFill/>
            </p:spPr>
          </p:pic>
          <p:sp>
            <p:nvSpPr>
              <p:cNvPr id="410" name="TextBox 409"/>
              <p:cNvSpPr txBox="1"/>
              <p:nvPr/>
            </p:nvSpPr>
            <p:spPr>
              <a:xfrm>
                <a:off x="5943086" y="4058592"/>
                <a:ext cx="682990" cy="30785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+mj-lt"/>
                    <a:cs typeface="Cordia New" pitchFamily="34" charset="-34"/>
                  </a:rPr>
                  <a:t>Control</a:t>
                </a:r>
              </a:p>
            </p:txBody>
          </p:sp>
          <p:sp>
            <p:nvSpPr>
              <p:cNvPr id="411" name="Oval 410"/>
              <p:cNvSpPr/>
              <p:nvPr/>
            </p:nvSpPr>
            <p:spPr>
              <a:xfrm>
                <a:off x="5398968" y="4758421"/>
                <a:ext cx="1165974" cy="758811"/>
              </a:xfrm>
              <a:prstGeom prst="ellipse">
                <a:avLst/>
              </a:prstGeom>
              <a:gradFill flip="none" rotWithShape="1">
                <a:gsLst>
                  <a:gs pos="0">
                    <a:srgbClr val="66FF66">
                      <a:alpha val="91000"/>
                    </a:srgbClr>
                  </a:gs>
                  <a:gs pos="60000">
                    <a:srgbClr val="7FD13B">
                      <a:tint val="37000"/>
                      <a:satMod val="300000"/>
                      <a:alpha val="59000"/>
                    </a:srgbClr>
                  </a:gs>
                  <a:gs pos="100000">
                    <a:srgbClr val="7FD13B">
                      <a:tint val="15000"/>
                      <a:satMod val="35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 cap="flat" cmpd="sng" algn="ctr">
                <a:solidFill>
                  <a:srgbClr val="4E5B6F">
                    <a:lumMod val="20000"/>
                    <a:lumOff val="80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cxnSp>
            <p:nvCxnSpPr>
              <p:cNvPr id="412" name="Shape 43"/>
              <p:cNvCxnSpPr>
                <a:stCxn id="423" idx="3"/>
                <a:endCxn id="401" idx="2"/>
              </p:cNvCxnSpPr>
              <p:nvPr/>
            </p:nvCxnSpPr>
            <p:spPr>
              <a:xfrm flipV="1">
                <a:off x="6535788" y="4946747"/>
                <a:ext cx="495543" cy="168116"/>
              </a:xfrm>
              <a:prstGeom prst="bentConnector2">
                <a:avLst/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grpSp>
            <p:nvGrpSpPr>
              <p:cNvPr id="413" name="Group 412"/>
              <p:cNvGrpSpPr/>
              <p:nvPr/>
            </p:nvGrpSpPr>
            <p:grpSpPr>
              <a:xfrm>
                <a:off x="6077174" y="4944543"/>
                <a:ext cx="536348" cy="340609"/>
                <a:chOff x="8161020" y="5049870"/>
                <a:chExt cx="525780" cy="376247"/>
              </a:xfrm>
            </p:grpSpPr>
            <p:sp>
              <p:nvSpPr>
                <p:cNvPr id="423" name="Rounded Rectangle 422"/>
                <p:cNvSpPr/>
                <p:nvPr/>
              </p:nvSpPr>
              <p:spPr>
                <a:xfrm>
                  <a:off x="8237220" y="5073393"/>
                  <a:ext cx="373378" cy="329215"/>
                </a:xfrm>
                <a:prstGeom prst="roundRect">
                  <a:avLst/>
                </a:prstGeom>
                <a:gradFill rotWithShape="1">
                  <a:gsLst>
                    <a:gs pos="0">
                      <a:srgbClr val="7FD13B">
                        <a:tint val="50000"/>
                        <a:satMod val="300000"/>
                      </a:srgbClr>
                    </a:gs>
                    <a:gs pos="35000">
                      <a:srgbClr val="7FD13B">
                        <a:tint val="37000"/>
                        <a:satMod val="300000"/>
                      </a:srgbClr>
                    </a:gs>
                    <a:gs pos="100000">
                      <a:srgbClr val="7FD13B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ln w="9525" cap="flat" cmpd="sng" algn="ctr">
                  <a:solidFill>
                    <a:srgbClr val="7FD13B">
                      <a:shade val="95000"/>
                      <a:satMod val="105000"/>
                    </a:srgbClr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ordia New" pitchFamily="34" charset="-34"/>
                    <a:ea typeface="+mn-ea"/>
                    <a:cs typeface="Cordia New" pitchFamily="34" charset="-34"/>
                  </a:endParaRPr>
                </a:p>
              </p:txBody>
            </p:sp>
            <p:sp>
              <p:nvSpPr>
                <p:cNvPr id="424" name="Rounded Rectangle 423"/>
                <p:cNvSpPr/>
                <p:nvPr/>
              </p:nvSpPr>
              <p:spPr>
                <a:xfrm>
                  <a:off x="8161020" y="5049870"/>
                  <a:ext cx="525780" cy="376247"/>
                </a:xfrm>
                <a:prstGeom prst="roundRect">
                  <a:avLst/>
                </a:prstGeom>
                <a:noFill/>
                <a:ln w="9525" cap="flat" cmpd="sng" algn="ctr">
                  <a:noFill/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ordia New" pitchFamily="34" charset="-34"/>
                      <a:ea typeface="+mn-ea"/>
                      <a:cs typeface="Cordia New" pitchFamily="34" charset="-34"/>
                    </a:rPr>
                    <a:t>SAM</a:t>
                  </a:r>
                </a:p>
              </p:txBody>
            </p:sp>
          </p:grpSp>
          <p:pic>
            <p:nvPicPr>
              <p:cNvPr id="414" name="Picture 2"/>
              <p:cNvPicPr>
                <a:picLocks noChangeAspect="1" noChangeArrowheads="1"/>
              </p:cNvPicPr>
              <p:nvPr/>
            </p:nvPicPr>
            <p:blipFill>
              <a:blip r:embed="rId1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58714" y="4854372"/>
                <a:ext cx="397703" cy="5546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15" name="Rounded Rectangle 414"/>
              <p:cNvSpPr/>
              <p:nvPr/>
            </p:nvSpPr>
            <p:spPr>
              <a:xfrm rot="20058642">
                <a:off x="5515685" y="5045576"/>
                <a:ext cx="495359" cy="259854"/>
              </a:xfrm>
              <a:prstGeom prst="roundRect">
                <a:avLst/>
              </a:prstGeom>
              <a:gradFill rotWithShape="1">
                <a:gsLst>
                  <a:gs pos="0">
                    <a:srgbClr val="00ADDC">
                      <a:tint val="50000"/>
                      <a:satMod val="300000"/>
                    </a:srgbClr>
                  </a:gs>
                  <a:gs pos="35000">
                    <a:srgbClr val="00ADDC">
                      <a:tint val="37000"/>
                      <a:satMod val="300000"/>
                    </a:srgbClr>
                  </a:gs>
                  <a:gs pos="100000">
                    <a:srgbClr val="00ADDC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00ADDC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ordia New" pitchFamily="34" charset="-34"/>
                    <a:ea typeface="+mn-ea"/>
                    <a:cs typeface="Cordia New" pitchFamily="34" charset="-34"/>
                  </a:rPr>
                  <a:t>NC</a:t>
                </a:r>
                <a:endParaRPr kumimoji="0" lang="en-US" sz="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ordia New" pitchFamily="34" charset="-34"/>
                  <a:ea typeface="+mn-ea"/>
                  <a:cs typeface="Cordia New" pitchFamily="34" charset="-34"/>
                </a:endParaRPr>
              </a:p>
            </p:txBody>
          </p:sp>
          <p:sp>
            <p:nvSpPr>
              <p:cNvPr id="416" name="Rounded Rectangle 415"/>
              <p:cNvSpPr/>
              <p:nvPr/>
            </p:nvSpPr>
            <p:spPr>
              <a:xfrm>
                <a:off x="6130987" y="2156468"/>
                <a:ext cx="1796477" cy="482881"/>
              </a:xfrm>
              <a:prstGeom prst="roundRect">
                <a:avLst/>
              </a:prstGeom>
              <a:gradFill rotWithShape="1">
                <a:gsLst>
                  <a:gs pos="0">
                    <a:srgbClr val="7FD13B">
                      <a:tint val="50000"/>
                      <a:satMod val="300000"/>
                    </a:srgbClr>
                  </a:gs>
                  <a:gs pos="35000">
                    <a:srgbClr val="7FD13B">
                      <a:tint val="37000"/>
                      <a:satMod val="300000"/>
                    </a:srgbClr>
                  </a:gs>
                  <a:gs pos="100000">
                    <a:srgbClr val="7FD13B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7FD13B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+mj-lt"/>
                    <a:ea typeface="+mn-ea"/>
                    <a:cs typeface="Cordia New" pitchFamily="34" charset="-34"/>
                  </a:rPr>
                  <a:t>NEW EXAT CCS</a:t>
                </a:r>
              </a:p>
            </p:txBody>
          </p:sp>
          <p:cxnSp>
            <p:nvCxnSpPr>
              <p:cNvPr id="417" name="Shape 50"/>
              <p:cNvCxnSpPr>
                <a:stCxn id="416" idx="0"/>
                <a:endCxn id="406" idx="2"/>
              </p:cNvCxnSpPr>
              <p:nvPr/>
            </p:nvCxnSpPr>
            <p:spPr>
              <a:xfrm rot="16200000" flipV="1">
                <a:off x="6022570" y="1149809"/>
                <a:ext cx="538512" cy="1474794"/>
              </a:xfrm>
              <a:prstGeom prst="bentConnector3">
                <a:avLst>
                  <a:gd name="adj1" fmla="val 50000"/>
                </a:avLst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sp>
            <p:nvSpPr>
              <p:cNvPr id="418" name="Rounded Rectangle 417"/>
              <p:cNvSpPr/>
              <p:nvPr/>
            </p:nvSpPr>
            <p:spPr>
              <a:xfrm>
                <a:off x="3470722" y="3055375"/>
                <a:ext cx="1377793" cy="482880"/>
              </a:xfrm>
              <a:prstGeom prst="roundRect">
                <a:avLst/>
              </a:prstGeom>
              <a:gradFill rotWithShape="1">
                <a:gsLst>
                  <a:gs pos="0">
                    <a:srgbClr val="FEB80A">
                      <a:tint val="50000"/>
                      <a:satMod val="300000"/>
                    </a:srgbClr>
                  </a:gs>
                  <a:gs pos="35000">
                    <a:srgbClr val="FEB80A">
                      <a:tint val="37000"/>
                      <a:satMod val="300000"/>
                    </a:srgbClr>
                  </a:gs>
                  <a:gs pos="100000">
                    <a:srgbClr val="FEB80A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FEB80A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th-TH" sz="800" b="1" kern="0" dirty="0" smtClean="0">
                    <a:solidFill>
                      <a:prstClr val="black"/>
                    </a:solidFill>
                    <a:latin typeface="Cordia New" pitchFamily="34" charset="-34"/>
                    <a:cs typeface="Cordia New" pitchFamily="34" charset="-34"/>
                  </a:rPr>
                  <a:t>ช่องเก็บเงิน</a:t>
                </a:r>
                <a:r>
                  <a:rPr kumimoji="0" lang="en-US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Cordia New" pitchFamily="34" charset="-34"/>
                    <a:cs typeface="Cordia New" pitchFamily="34" charset="-34"/>
                  </a:rPr>
                  <a:t> </a:t>
                </a:r>
                <a:r>
                  <a:rPr kumimoji="0" lang="en-US" sz="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+mj-lt"/>
                    <a:ea typeface="+mn-ea"/>
                    <a:cs typeface="Cordia New" pitchFamily="34" charset="-34"/>
                  </a:rPr>
                  <a:t>SC</a:t>
                </a:r>
              </a:p>
            </p:txBody>
          </p:sp>
          <p:sp>
            <p:nvSpPr>
              <p:cNvPr id="419" name="Rounded Rectangle 418"/>
              <p:cNvSpPr/>
              <p:nvPr/>
            </p:nvSpPr>
            <p:spPr>
              <a:xfrm>
                <a:off x="6135037" y="3055381"/>
                <a:ext cx="1796477" cy="482881"/>
              </a:xfrm>
              <a:prstGeom prst="roundRect">
                <a:avLst/>
              </a:prstGeom>
              <a:gradFill rotWithShape="1">
                <a:gsLst>
                  <a:gs pos="0">
                    <a:srgbClr val="7FD13B">
                      <a:tint val="50000"/>
                      <a:satMod val="300000"/>
                    </a:srgbClr>
                  </a:gs>
                  <a:gs pos="35000">
                    <a:srgbClr val="7FD13B">
                      <a:tint val="37000"/>
                      <a:satMod val="300000"/>
                    </a:srgbClr>
                  </a:gs>
                  <a:gs pos="100000">
                    <a:srgbClr val="7FD13B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7FD13B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h-TH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Cordia New" pitchFamily="34" charset="-34"/>
                    <a:ea typeface="+mn-ea"/>
                    <a:cs typeface="Cordia New" pitchFamily="34" charset="-34"/>
                  </a:rPr>
                  <a:t>ช่องเก็บเงินใหม่ </a:t>
                </a:r>
                <a:r>
                  <a:rPr kumimoji="0" lang="en-US" sz="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uLnTx/>
                    <a:uFillTx/>
                    <a:latin typeface="+mj-lt"/>
                    <a:ea typeface="+mn-ea"/>
                    <a:cs typeface="Cordia New" pitchFamily="34" charset="-34"/>
                  </a:rPr>
                  <a:t>SC</a:t>
                </a:r>
                <a:endParaRPr kumimoji="0" lang="en-US" sz="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+mj-lt"/>
                  <a:ea typeface="+mn-ea"/>
                  <a:cs typeface="Cordia New" pitchFamily="34" charset="-34"/>
                </a:endParaRPr>
              </a:p>
            </p:txBody>
          </p:sp>
          <p:cxnSp>
            <p:nvCxnSpPr>
              <p:cNvPr id="420" name="Shape 50"/>
              <p:cNvCxnSpPr>
                <a:stCxn id="418" idx="0"/>
                <a:endCxn id="405" idx="2"/>
              </p:cNvCxnSpPr>
              <p:nvPr/>
            </p:nvCxnSpPr>
            <p:spPr>
              <a:xfrm rot="5400000" flipH="1" flipV="1">
                <a:off x="3951599" y="2847365"/>
                <a:ext cx="416034" cy="1"/>
              </a:xfrm>
              <a:prstGeom prst="bentConnector3">
                <a:avLst>
                  <a:gd name="adj1" fmla="val 50000"/>
                </a:avLst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cxnSp>
            <p:nvCxnSpPr>
              <p:cNvPr id="421" name="Shape 50"/>
              <p:cNvCxnSpPr>
                <a:stCxn id="419" idx="0"/>
                <a:endCxn id="416" idx="2"/>
              </p:cNvCxnSpPr>
              <p:nvPr/>
            </p:nvCxnSpPr>
            <p:spPr>
              <a:xfrm flipH="1" flipV="1">
                <a:off x="7029223" y="2639343"/>
                <a:ext cx="4050" cy="416032"/>
              </a:xfrm>
              <a:prstGeom prst="straightConnector1">
                <a:avLst/>
              </a:prstGeom>
              <a:noFill/>
              <a:ln w="25400" cap="flat" cmpd="sng" algn="ctr">
                <a:solidFill>
                  <a:schemeClr val="accent1"/>
                </a:solidFill>
                <a:prstDash val="solid"/>
                <a:headEnd type="triangle"/>
                <a:tailEnd type="triangle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cxnSp>
          <p:cxnSp>
            <p:nvCxnSpPr>
              <p:cNvPr id="422" name="Straight Arrow Connector 421"/>
              <p:cNvCxnSpPr/>
              <p:nvPr/>
            </p:nvCxnSpPr>
            <p:spPr bwMode="auto">
              <a:xfrm>
                <a:off x="5004051" y="2397902"/>
                <a:ext cx="854663" cy="0"/>
              </a:xfrm>
              <a:prstGeom prst="straightConnector1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triangle"/>
                <a:tailEnd type="triangle"/>
              </a:ln>
              <a:effectLst/>
            </p:spPr>
          </p:cxnSp>
        </p:grpSp>
      </p:grpSp>
      <p:sp>
        <p:nvSpPr>
          <p:cNvPr id="426" name="Rectangle 425"/>
          <p:cNvSpPr/>
          <p:nvPr>
            <p:custDataLst>
              <p:tags r:id="rId37"/>
            </p:custDataLst>
          </p:nvPr>
        </p:nvSpPr>
        <p:spPr bwMode="auto">
          <a:xfrm>
            <a:off x="683570" y="1201554"/>
            <a:ext cx="2655256" cy="24053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27" name="Rectangle 426"/>
          <p:cNvSpPr/>
          <p:nvPr>
            <p:custDataLst>
              <p:tags r:id="rId38"/>
            </p:custDataLst>
          </p:nvPr>
        </p:nvSpPr>
        <p:spPr bwMode="auto">
          <a:xfrm>
            <a:off x="683569" y="1092660"/>
            <a:ext cx="2655257" cy="26971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ระบบขนส่งทางราง</a:t>
            </a:r>
          </a:p>
        </p:txBody>
      </p:sp>
      <p:pic>
        <p:nvPicPr>
          <p:cNvPr id="428" name="Picture 427" descr="C:\Users\Thanida\Desktop\Wqrk\AG1 copy.gif"/>
          <p:cNvPicPr>
            <a:picLocks noChangeAspect="1" noChangeArrowheads="1"/>
          </p:cNvPicPr>
          <p:nvPr>
            <p:custDataLst>
              <p:tags r:id="rId39"/>
            </p:custDataLst>
          </p:nvPr>
        </p:nvPicPr>
        <p:blipFill>
          <a:blip r:embed="rId121" cstate="print"/>
          <a:srcRect/>
          <a:stretch>
            <a:fillRect/>
          </a:stretch>
        </p:blipFill>
        <p:spPr bwMode="auto">
          <a:xfrm>
            <a:off x="1518472" y="2947279"/>
            <a:ext cx="563421" cy="429790"/>
          </a:xfrm>
          <a:prstGeom prst="rect">
            <a:avLst/>
          </a:prstGeom>
          <a:noFill/>
        </p:spPr>
      </p:pic>
      <p:sp>
        <p:nvSpPr>
          <p:cNvPr id="429" name="Rounded Rectangle 428"/>
          <p:cNvSpPr/>
          <p:nvPr>
            <p:custDataLst>
              <p:tags r:id="rId40"/>
            </p:custDataLst>
          </p:nvPr>
        </p:nvSpPr>
        <p:spPr>
          <a:xfrm>
            <a:off x="1358153" y="2450176"/>
            <a:ext cx="1432121" cy="173412"/>
          </a:xfrm>
          <a:prstGeom prst="roundRect">
            <a:avLst/>
          </a:prstGeom>
          <a:solidFill>
            <a:schemeClr val="accent1"/>
          </a:solidFill>
          <a:effectLst>
            <a:innerShdw blurRad="114300">
              <a:prstClr val="black"/>
            </a:inn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Station Computer</a:t>
            </a:r>
          </a:p>
        </p:txBody>
      </p:sp>
      <p:sp>
        <p:nvSpPr>
          <p:cNvPr id="430" name="Rounded Rectangle 429"/>
          <p:cNvSpPr/>
          <p:nvPr>
            <p:custDataLst>
              <p:tags r:id="rId41"/>
            </p:custDataLst>
          </p:nvPr>
        </p:nvSpPr>
        <p:spPr>
          <a:xfrm>
            <a:off x="1354083" y="1991562"/>
            <a:ext cx="1433970" cy="174408"/>
          </a:xfrm>
          <a:prstGeom prst="roundRect">
            <a:avLst/>
          </a:prstGeom>
          <a:solidFill>
            <a:schemeClr val="accent1"/>
          </a:solidFill>
          <a:effectLst>
            <a:innerShdw blurRad="114300">
              <a:prstClr val="black"/>
            </a:inn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Central Computer</a:t>
            </a:r>
          </a:p>
        </p:txBody>
      </p:sp>
      <p:sp>
        <p:nvSpPr>
          <p:cNvPr id="431" name="Rounded Rectangle 430"/>
          <p:cNvSpPr/>
          <p:nvPr>
            <p:custDataLst>
              <p:tags r:id="rId42"/>
            </p:custDataLst>
          </p:nvPr>
        </p:nvSpPr>
        <p:spPr>
          <a:xfrm>
            <a:off x="1348775" y="1560920"/>
            <a:ext cx="1433970" cy="173412"/>
          </a:xfrm>
          <a:prstGeom prst="roundRect">
            <a:avLst/>
          </a:prstGeom>
          <a:solidFill>
            <a:schemeClr val="accent1"/>
          </a:solidFill>
          <a:effectLst>
            <a:innerShdw blurRad="114300">
              <a:prstClr val="black"/>
            </a:inn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CCH</a:t>
            </a:r>
            <a:endParaRPr lang="en-US" sz="11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432" name="Straight Arrow Connector 431"/>
          <p:cNvCxnSpPr>
            <a:endCxn id="429" idx="2"/>
          </p:cNvCxnSpPr>
          <p:nvPr>
            <p:custDataLst>
              <p:tags r:id="rId43"/>
            </p:custDataLst>
          </p:nvPr>
        </p:nvCxnSpPr>
        <p:spPr>
          <a:xfrm flipV="1">
            <a:off x="2074213" y="2625949"/>
            <a:ext cx="1" cy="472436"/>
          </a:xfrm>
          <a:prstGeom prst="straightConnector1">
            <a:avLst/>
          </a:prstGeom>
          <a:ln w="28575">
            <a:solidFill>
              <a:srgbClr val="C00000"/>
            </a:solidFill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33" name="Straight Arrow Connector 432"/>
          <p:cNvCxnSpPr>
            <a:stCxn id="429" idx="0"/>
            <a:endCxn id="430" idx="2"/>
          </p:cNvCxnSpPr>
          <p:nvPr>
            <p:custDataLst>
              <p:tags r:id="rId44"/>
            </p:custDataLst>
          </p:nvPr>
        </p:nvCxnSpPr>
        <p:spPr>
          <a:xfrm flipH="1" flipV="1">
            <a:off x="2071069" y="2167378"/>
            <a:ext cx="3146" cy="281392"/>
          </a:xfrm>
          <a:prstGeom prst="straightConnector1">
            <a:avLst/>
          </a:prstGeom>
          <a:ln w="28575">
            <a:solidFill>
              <a:srgbClr val="C00000"/>
            </a:solidFill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34" name="Straight Arrow Connector 433"/>
          <p:cNvCxnSpPr>
            <a:stCxn id="430" idx="0"/>
            <a:endCxn id="431" idx="2"/>
          </p:cNvCxnSpPr>
          <p:nvPr>
            <p:custDataLst>
              <p:tags r:id="rId45"/>
            </p:custDataLst>
          </p:nvPr>
        </p:nvCxnSpPr>
        <p:spPr>
          <a:xfrm flipH="1" flipV="1">
            <a:off x="2065760" y="1735604"/>
            <a:ext cx="5308" cy="254684"/>
          </a:xfrm>
          <a:prstGeom prst="straightConnector1">
            <a:avLst/>
          </a:prstGeom>
          <a:ln w="28575">
            <a:solidFill>
              <a:srgbClr val="C00000"/>
            </a:solidFill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35" name="Down Arrow Callout 434"/>
          <p:cNvSpPr/>
          <p:nvPr>
            <p:custDataLst>
              <p:tags r:id="rId46"/>
            </p:custDataLst>
          </p:nvPr>
        </p:nvSpPr>
        <p:spPr>
          <a:xfrm>
            <a:off x="1236544" y="1657444"/>
            <a:ext cx="493662" cy="391606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69749"/>
            </a:avLst>
          </a:prstGeom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  <a:softEdge rad="31750"/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00" dirty="0" smtClean="0">
                <a:solidFill>
                  <a:prstClr val="black"/>
                </a:solidFill>
              </a:rPr>
              <a:t>Card Parameter</a:t>
            </a:r>
            <a:endParaRPr lang="en-US" sz="200" dirty="0">
              <a:solidFill>
                <a:prstClr val="black"/>
              </a:solidFill>
            </a:endParaRPr>
          </a:p>
          <a:p>
            <a:r>
              <a:rPr lang="en-US" sz="200" dirty="0">
                <a:solidFill>
                  <a:prstClr val="black"/>
                </a:solidFill>
              </a:rPr>
              <a:t>Fare Parameter</a:t>
            </a:r>
          </a:p>
          <a:p>
            <a:r>
              <a:rPr lang="en-US" sz="200" dirty="0">
                <a:solidFill>
                  <a:prstClr val="black"/>
                </a:solidFill>
              </a:rPr>
              <a:t>Specific Parameter</a:t>
            </a:r>
          </a:p>
          <a:p>
            <a:r>
              <a:rPr lang="en-US" sz="200" dirty="0">
                <a:solidFill>
                  <a:prstClr val="black"/>
                </a:solidFill>
              </a:rPr>
              <a:t>Clock Synchronization</a:t>
            </a:r>
          </a:p>
          <a:p>
            <a:r>
              <a:rPr lang="en-US" sz="200" dirty="0">
                <a:solidFill>
                  <a:prstClr val="black"/>
                </a:solidFill>
              </a:rPr>
              <a:t>Monitor Equipment Status</a:t>
            </a:r>
          </a:p>
        </p:txBody>
      </p:sp>
      <p:sp>
        <p:nvSpPr>
          <p:cNvPr id="436" name="Up Arrow Callout 435"/>
          <p:cNvSpPr/>
          <p:nvPr>
            <p:custDataLst>
              <p:tags r:id="rId47"/>
            </p:custDataLst>
          </p:nvPr>
        </p:nvSpPr>
        <p:spPr>
          <a:xfrm>
            <a:off x="2375139" y="2572694"/>
            <a:ext cx="540677" cy="341776"/>
          </a:xfrm>
          <a:prstGeom prst="upArrowCallout">
            <a:avLst>
              <a:gd name="adj1" fmla="val 29312"/>
              <a:gd name="adj2" fmla="val 32290"/>
              <a:gd name="adj3" fmla="val 31379"/>
              <a:gd name="adj4" fmla="val 60481"/>
            </a:avLst>
          </a:prstGeom>
          <a:gradFill>
            <a:gsLst>
              <a:gs pos="0">
                <a:srgbClr val="FFFF99"/>
              </a:gs>
              <a:gs pos="35000">
                <a:srgbClr val="FFFF66"/>
              </a:gs>
              <a:gs pos="100000">
                <a:srgbClr val="FFFF00"/>
              </a:gs>
            </a:gsLst>
          </a:gradFill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  <a:softEdge rad="31750"/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00" dirty="0">
                <a:solidFill>
                  <a:prstClr val="black"/>
                </a:solidFill>
              </a:rPr>
              <a:t>Equipment usage Transaction</a:t>
            </a:r>
          </a:p>
          <a:p>
            <a:r>
              <a:rPr lang="en-US" sz="200" dirty="0">
                <a:solidFill>
                  <a:prstClr val="black"/>
                </a:solidFill>
              </a:rPr>
              <a:t>Equipment Audit Register</a:t>
            </a:r>
          </a:p>
        </p:txBody>
      </p:sp>
      <p:sp>
        <p:nvSpPr>
          <p:cNvPr id="437" name="Down Arrow Callout 436"/>
          <p:cNvSpPr/>
          <p:nvPr>
            <p:custDataLst>
              <p:tags r:id="rId48"/>
            </p:custDataLst>
          </p:nvPr>
        </p:nvSpPr>
        <p:spPr>
          <a:xfrm>
            <a:off x="1236544" y="2074106"/>
            <a:ext cx="493662" cy="473846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69749"/>
            </a:avLst>
          </a:prstGeom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  <a:softEdge rad="31750"/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00" dirty="0" smtClean="0">
                <a:solidFill>
                  <a:prstClr val="black"/>
                </a:solidFill>
              </a:rPr>
              <a:t>Equipment Parameter</a:t>
            </a:r>
          </a:p>
          <a:p>
            <a:r>
              <a:rPr lang="en-US" sz="200" dirty="0">
                <a:solidFill>
                  <a:prstClr val="black"/>
                </a:solidFill>
              </a:rPr>
              <a:t>Card </a:t>
            </a:r>
            <a:r>
              <a:rPr lang="en-US" sz="200" dirty="0" smtClean="0">
                <a:solidFill>
                  <a:prstClr val="black"/>
                </a:solidFill>
              </a:rPr>
              <a:t>Parameter</a:t>
            </a:r>
            <a:endParaRPr lang="en-US" sz="200" dirty="0">
              <a:solidFill>
                <a:prstClr val="black"/>
              </a:solidFill>
            </a:endParaRPr>
          </a:p>
          <a:p>
            <a:r>
              <a:rPr lang="en-US" sz="200" dirty="0">
                <a:solidFill>
                  <a:prstClr val="black"/>
                </a:solidFill>
              </a:rPr>
              <a:t>Fare Parameter</a:t>
            </a:r>
          </a:p>
          <a:p>
            <a:r>
              <a:rPr lang="en-US" sz="200" dirty="0">
                <a:solidFill>
                  <a:prstClr val="black"/>
                </a:solidFill>
              </a:rPr>
              <a:t>Specific Parameter</a:t>
            </a:r>
          </a:p>
          <a:p>
            <a:r>
              <a:rPr lang="en-US" sz="200" dirty="0">
                <a:solidFill>
                  <a:prstClr val="black"/>
                </a:solidFill>
              </a:rPr>
              <a:t>Clock Synchronization</a:t>
            </a:r>
          </a:p>
          <a:p>
            <a:r>
              <a:rPr lang="en-US" sz="200" dirty="0">
                <a:solidFill>
                  <a:prstClr val="black"/>
                </a:solidFill>
              </a:rPr>
              <a:t>Monitor Equipment Status</a:t>
            </a:r>
          </a:p>
        </p:txBody>
      </p:sp>
      <p:sp>
        <p:nvSpPr>
          <p:cNvPr id="438" name="Down Arrow Callout 437"/>
          <p:cNvSpPr/>
          <p:nvPr>
            <p:custDataLst>
              <p:tags r:id="rId49"/>
            </p:custDataLst>
          </p:nvPr>
        </p:nvSpPr>
        <p:spPr>
          <a:xfrm>
            <a:off x="1236544" y="2565295"/>
            <a:ext cx="493662" cy="430768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69749"/>
            </a:avLst>
          </a:prstGeom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  <a:softEdge rad="31750"/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00" dirty="0">
                <a:solidFill>
                  <a:prstClr val="black"/>
                </a:solidFill>
              </a:rPr>
              <a:t>Equipment </a:t>
            </a:r>
            <a:r>
              <a:rPr lang="en-US" sz="200" dirty="0" smtClean="0">
                <a:solidFill>
                  <a:prstClr val="black"/>
                </a:solidFill>
              </a:rPr>
              <a:t>Parameter</a:t>
            </a:r>
          </a:p>
          <a:p>
            <a:r>
              <a:rPr lang="en-US" sz="200" dirty="0" smtClean="0">
                <a:solidFill>
                  <a:prstClr val="black"/>
                </a:solidFill>
              </a:rPr>
              <a:t>Card Parameter</a:t>
            </a:r>
            <a:endParaRPr lang="en-US" sz="200" dirty="0">
              <a:solidFill>
                <a:prstClr val="black"/>
              </a:solidFill>
            </a:endParaRPr>
          </a:p>
          <a:p>
            <a:r>
              <a:rPr lang="en-US" sz="200" dirty="0">
                <a:solidFill>
                  <a:prstClr val="black"/>
                </a:solidFill>
              </a:rPr>
              <a:t>Fare Parameter</a:t>
            </a:r>
          </a:p>
          <a:p>
            <a:r>
              <a:rPr lang="en-US" sz="200" dirty="0">
                <a:solidFill>
                  <a:prstClr val="black"/>
                </a:solidFill>
              </a:rPr>
              <a:t>Specific Parameter</a:t>
            </a:r>
          </a:p>
          <a:p>
            <a:r>
              <a:rPr lang="en-US" sz="200" dirty="0">
                <a:solidFill>
                  <a:prstClr val="black"/>
                </a:solidFill>
              </a:rPr>
              <a:t>Clock Synchronization</a:t>
            </a:r>
          </a:p>
          <a:p>
            <a:r>
              <a:rPr lang="en-US" sz="200" dirty="0">
                <a:solidFill>
                  <a:prstClr val="black"/>
                </a:solidFill>
              </a:rPr>
              <a:t>Monitor Equipment Status</a:t>
            </a:r>
          </a:p>
        </p:txBody>
      </p:sp>
      <p:sp>
        <p:nvSpPr>
          <p:cNvPr id="439" name="Up Arrow Callout 438"/>
          <p:cNvSpPr/>
          <p:nvPr>
            <p:custDataLst>
              <p:tags r:id="rId50"/>
            </p:custDataLst>
          </p:nvPr>
        </p:nvSpPr>
        <p:spPr>
          <a:xfrm>
            <a:off x="2375139" y="2110664"/>
            <a:ext cx="540677" cy="341776"/>
          </a:xfrm>
          <a:prstGeom prst="upArrowCallout">
            <a:avLst>
              <a:gd name="adj1" fmla="val 29312"/>
              <a:gd name="adj2" fmla="val 32290"/>
              <a:gd name="adj3" fmla="val 31379"/>
              <a:gd name="adj4" fmla="val 60481"/>
            </a:avLst>
          </a:prstGeom>
          <a:gradFill>
            <a:gsLst>
              <a:gs pos="0">
                <a:srgbClr val="FFFF99"/>
              </a:gs>
              <a:gs pos="35000">
                <a:srgbClr val="FFFF66"/>
              </a:gs>
              <a:gs pos="100000">
                <a:srgbClr val="FFFF00"/>
              </a:gs>
            </a:gsLst>
          </a:gradFill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  <a:softEdge rad="31750"/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00" dirty="0">
                <a:solidFill>
                  <a:prstClr val="black"/>
                </a:solidFill>
              </a:rPr>
              <a:t>Equipment usage Transaction</a:t>
            </a:r>
          </a:p>
          <a:p>
            <a:r>
              <a:rPr lang="en-US" sz="200" dirty="0">
                <a:solidFill>
                  <a:prstClr val="black"/>
                </a:solidFill>
              </a:rPr>
              <a:t>Equipment Audit Register</a:t>
            </a:r>
          </a:p>
        </p:txBody>
      </p:sp>
      <p:sp>
        <p:nvSpPr>
          <p:cNvPr id="440" name="Up Arrow Callout 439"/>
          <p:cNvSpPr/>
          <p:nvPr>
            <p:custDataLst>
              <p:tags r:id="rId51"/>
            </p:custDataLst>
          </p:nvPr>
        </p:nvSpPr>
        <p:spPr>
          <a:xfrm>
            <a:off x="2375139" y="1675613"/>
            <a:ext cx="540677" cy="341776"/>
          </a:xfrm>
          <a:prstGeom prst="upArrowCallout">
            <a:avLst>
              <a:gd name="adj1" fmla="val 29312"/>
              <a:gd name="adj2" fmla="val 32290"/>
              <a:gd name="adj3" fmla="val 31379"/>
              <a:gd name="adj4" fmla="val 60481"/>
            </a:avLst>
          </a:prstGeom>
          <a:gradFill>
            <a:gsLst>
              <a:gs pos="0">
                <a:srgbClr val="FFFF99"/>
              </a:gs>
              <a:gs pos="35000">
                <a:srgbClr val="FFFF66"/>
              </a:gs>
              <a:gs pos="100000">
                <a:srgbClr val="FFFF00"/>
              </a:gs>
            </a:gsLst>
          </a:gradFill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  <a:softEdge rad="31750"/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00" dirty="0">
                <a:solidFill>
                  <a:prstClr val="black"/>
                </a:solidFill>
              </a:rPr>
              <a:t>Equipment usage Transaction</a:t>
            </a:r>
          </a:p>
          <a:p>
            <a:r>
              <a:rPr lang="en-US" sz="200" dirty="0">
                <a:solidFill>
                  <a:prstClr val="black"/>
                </a:solidFill>
              </a:rPr>
              <a:t>Equipment Audit Register</a:t>
            </a:r>
          </a:p>
        </p:txBody>
      </p:sp>
      <p:pic>
        <p:nvPicPr>
          <p:cNvPr id="441" name="Picture 3"/>
          <p:cNvPicPr>
            <a:picLocks noChangeAspect="1" noChangeArrowheads="1"/>
          </p:cNvPicPr>
          <p:nvPr>
            <p:custDataLst>
              <p:tags r:id="rId52"/>
            </p:custDataLst>
          </p:nvPr>
        </p:nvPicPr>
        <p:blipFill>
          <a:blip r:embed="rId1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150" y="3101281"/>
            <a:ext cx="484260" cy="333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2" name="Rounded Rectangular Callout 441"/>
          <p:cNvSpPr/>
          <p:nvPr>
            <p:custDataLst>
              <p:tags r:id="rId53"/>
            </p:custDataLst>
          </p:nvPr>
        </p:nvSpPr>
        <p:spPr>
          <a:xfrm>
            <a:off x="833193" y="2999806"/>
            <a:ext cx="665430" cy="471380"/>
          </a:xfrm>
          <a:prstGeom prst="wedgeRoundRectCallout">
            <a:avLst>
              <a:gd name="adj1" fmla="val 83824"/>
              <a:gd name="adj2" fmla="val -26685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sp>
        <p:nvSpPr>
          <p:cNvPr id="443" name="Rounded Rectangle 442"/>
          <p:cNvSpPr/>
          <p:nvPr>
            <p:custDataLst>
              <p:tags r:id="rId54"/>
            </p:custDataLst>
          </p:nvPr>
        </p:nvSpPr>
        <p:spPr>
          <a:xfrm>
            <a:off x="1988243" y="3156957"/>
            <a:ext cx="153347" cy="92096"/>
          </a:xfrm>
          <a:prstGeom prst="roundRect">
            <a:avLst/>
          </a:prstGeom>
          <a:solidFill>
            <a:srgbClr val="FFFF99"/>
          </a:soli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24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effectLst>
            <a:innerShdw blurRad="50800">
              <a:srgbClr val="FF6600"/>
            </a:innerShdw>
          </a:effectLst>
          <a:scene3d>
            <a:camera prst="orthographicFront">
              <a:rot lat="1200000" lon="18600000" rev="0"/>
            </a:camera>
            <a:lightRig rig="threePt" dir="t"/>
          </a:scene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" b="1" dirty="0">
                <a:solidFill>
                  <a:prstClr val="black"/>
                </a:solidFill>
              </a:rPr>
              <a:t>ECU</a:t>
            </a:r>
          </a:p>
        </p:txBody>
      </p:sp>
      <p:cxnSp>
        <p:nvCxnSpPr>
          <p:cNvPr id="444" name="Elbow Connector 443"/>
          <p:cNvCxnSpPr/>
          <p:nvPr>
            <p:custDataLst>
              <p:tags r:id="rId55"/>
            </p:custDataLst>
          </p:nvPr>
        </p:nvCxnSpPr>
        <p:spPr>
          <a:xfrm>
            <a:off x="1957203" y="3143450"/>
            <a:ext cx="70523" cy="97475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  <a:scene3d>
            <a:camera prst="orthographicFront">
              <a:rot lat="1800000" lon="19199999" rev="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5" name="Rectangle 444"/>
          <p:cNvSpPr/>
          <p:nvPr>
            <p:custDataLst>
              <p:tags r:id="rId56"/>
            </p:custDataLst>
          </p:nvPr>
        </p:nvSpPr>
        <p:spPr>
          <a:xfrm>
            <a:off x="1903116" y="3141498"/>
            <a:ext cx="65696" cy="50423"/>
          </a:xfrm>
          <a:prstGeom prst="rect">
            <a:avLst/>
          </a:prstGeom>
          <a:effectLst/>
          <a:scene3d>
            <a:camera prst="isometricOffAxis1Right">
              <a:rot lat="1554083" lon="19743416" rev="295043"/>
            </a:camera>
            <a:lightRig rig="threePt" dir="t"/>
          </a:scene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black"/>
              </a:solidFill>
            </a:endParaRPr>
          </a:p>
        </p:txBody>
      </p:sp>
      <p:sp>
        <p:nvSpPr>
          <p:cNvPr id="446" name="TextBox 445"/>
          <p:cNvSpPr txBox="1"/>
          <p:nvPr>
            <p:custDataLst>
              <p:tags r:id="rId57"/>
            </p:custDataLst>
          </p:nvPr>
        </p:nvSpPr>
        <p:spPr>
          <a:xfrm>
            <a:off x="1873062" y="3123318"/>
            <a:ext cx="125525" cy="80758"/>
          </a:xfrm>
          <a:prstGeom prst="rect">
            <a:avLst/>
          </a:prstGeom>
          <a:noFill/>
          <a:ln>
            <a:noFill/>
          </a:ln>
          <a:effectLst/>
          <a:scene3d>
            <a:camera prst="isometricOffAxis1Right">
              <a:rot lat="1554083" lon="19743416" rev="295043"/>
            </a:camera>
            <a:lightRig rig="threePt" dir="t"/>
          </a:scene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100" b="1" dirty="0">
                <a:solidFill>
                  <a:prstClr val="black"/>
                </a:solidFill>
              </a:rPr>
              <a:t>SAM</a:t>
            </a:r>
            <a:endParaRPr lang="en-US" sz="1050" b="1" dirty="0">
              <a:solidFill>
                <a:prstClr val="black"/>
              </a:solidFill>
            </a:endParaRPr>
          </a:p>
        </p:txBody>
      </p:sp>
      <p:pic>
        <p:nvPicPr>
          <p:cNvPr id="447" name="Picture 6"/>
          <p:cNvPicPr>
            <a:picLocks noChangeAspect="1" noChangeArrowheads="1"/>
          </p:cNvPicPr>
          <p:nvPr>
            <p:custDataLst>
              <p:tags r:id="rId58"/>
            </p:custDataLst>
          </p:nvPr>
        </p:nvPicPr>
        <p:blipFill>
          <a:blip r:embed="rId1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788" y="2941006"/>
            <a:ext cx="207435" cy="18149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2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2">
                  <a:lumMod val="40000"/>
                  <a:lumOff val="6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448" name="Rectangle 447"/>
          <p:cNvSpPr/>
          <p:nvPr>
            <p:custDataLst>
              <p:tags r:id="rId59"/>
            </p:custDataLst>
          </p:nvPr>
        </p:nvSpPr>
        <p:spPr bwMode="auto">
          <a:xfrm>
            <a:off x="889969" y="2957387"/>
            <a:ext cx="80857" cy="5327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50" i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NC</a:t>
            </a:r>
            <a:endParaRPr lang="th-TH" sz="1050" i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49" name="TextBox 448"/>
          <p:cNvSpPr txBox="1"/>
          <p:nvPr>
            <p:custDataLst>
              <p:tags r:id="rId60"/>
            </p:custDataLst>
          </p:nvPr>
        </p:nvSpPr>
        <p:spPr>
          <a:xfrm>
            <a:off x="3585216" y="1714369"/>
            <a:ext cx="505985" cy="27447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400" b="1" dirty="0" smtClean="0">
                <a:solidFill>
                  <a:schemeClr val="accent1">
                    <a:lumMod val="75000"/>
                    <a:lumOff val="25000"/>
                  </a:schemeClr>
                </a:solidFill>
                <a:latin typeface="Century Gothic" pitchFamily="34" charset="0"/>
                <a:cs typeface="Cordia New" pitchFamily="34" charset="-34"/>
              </a:rPr>
              <a:t>RAIL</a:t>
            </a:r>
            <a:endParaRPr lang="th-TH" sz="1400" b="1" dirty="0" smtClean="0">
              <a:solidFill>
                <a:schemeClr val="accent1">
                  <a:lumMod val="75000"/>
                  <a:lumOff val="25000"/>
                </a:schemeClr>
              </a:solidFill>
              <a:latin typeface="Century Gothic" pitchFamily="34" charset="0"/>
              <a:cs typeface="Cordia New" pitchFamily="34" charset="-34"/>
            </a:endParaRPr>
          </a:p>
        </p:txBody>
      </p:sp>
      <p:sp>
        <p:nvSpPr>
          <p:cNvPr id="450" name="TextBox 449"/>
          <p:cNvSpPr txBox="1"/>
          <p:nvPr>
            <p:custDataLst>
              <p:tags r:id="rId61"/>
            </p:custDataLst>
          </p:nvPr>
        </p:nvSpPr>
        <p:spPr>
          <a:xfrm>
            <a:off x="5242904" y="1723122"/>
            <a:ext cx="459986" cy="27447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400" b="1" dirty="0" smtClean="0">
                <a:solidFill>
                  <a:srgbClr val="FFC000"/>
                </a:solidFill>
                <a:latin typeface="Century Gothic" pitchFamily="34" charset="0"/>
                <a:cs typeface="Cordia New" pitchFamily="34" charset="-34"/>
              </a:rPr>
              <a:t>BUS</a:t>
            </a:r>
            <a:endParaRPr lang="th-TH" sz="1400" b="1" dirty="0" smtClean="0">
              <a:solidFill>
                <a:srgbClr val="FFC000"/>
              </a:solidFill>
              <a:latin typeface="Century Gothic" pitchFamily="34" charset="0"/>
              <a:cs typeface="Cordia New" pitchFamily="34" charset="-34"/>
            </a:endParaRPr>
          </a:p>
        </p:txBody>
      </p:sp>
      <p:sp>
        <p:nvSpPr>
          <p:cNvPr id="451" name="TextBox 450"/>
          <p:cNvSpPr txBox="1"/>
          <p:nvPr>
            <p:custDataLst>
              <p:tags r:id="rId62"/>
            </p:custDataLst>
          </p:nvPr>
        </p:nvSpPr>
        <p:spPr>
          <a:xfrm>
            <a:off x="3528304" y="5201057"/>
            <a:ext cx="505985" cy="27447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400" b="1" dirty="0" smtClean="0">
                <a:solidFill>
                  <a:srgbClr val="C00000"/>
                </a:solidFill>
                <a:latin typeface="Century Gothic" pitchFamily="34" charset="0"/>
                <a:cs typeface="Cordia New" pitchFamily="34" charset="-34"/>
              </a:rPr>
              <a:t>TOLL</a:t>
            </a:r>
            <a:endParaRPr lang="th-TH" sz="1400" b="1" dirty="0" smtClean="0">
              <a:solidFill>
                <a:srgbClr val="C00000"/>
              </a:solidFill>
              <a:latin typeface="Century Gothic" pitchFamily="34" charset="0"/>
              <a:cs typeface="Cordia New" pitchFamily="34" charset="-34"/>
            </a:endParaRPr>
          </a:p>
        </p:txBody>
      </p:sp>
      <p:sp>
        <p:nvSpPr>
          <p:cNvPr id="452" name="TextBox 451"/>
          <p:cNvSpPr txBox="1"/>
          <p:nvPr>
            <p:custDataLst>
              <p:tags r:id="rId63"/>
            </p:custDataLst>
          </p:nvPr>
        </p:nvSpPr>
        <p:spPr>
          <a:xfrm>
            <a:off x="5161095" y="5228403"/>
            <a:ext cx="612242" cy="27447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400" b="1" dirty="0" smtClean="0">
                <a:solidFill>
                  <a:schemeClr val="accent1">
                    <a:lumMod val="50000"/>
                    <a:lumOff val="50000"/>
                  </a:schemeClr>
                </a:solidFill>
                <a:latin typeface="Century Gothic" pitchFamily="34" charset="0"/>
                <a:cs typeface="Cordia New" pitchFamily="34" charset="-34"/>
              </a:rPr>
              <a:t>FERRY</a:t>
            </a:r>
            <a:endParaRPr lang="th-TH" sz="1400" b="1" dirty="0" smtClean="0">
              <a:solidFill>
                <a:schemeClr val="accent1">
                  <a:lumMod val="50000"/>
                  <a:lumOff val="50000"/>
                </a:schemeClr>
              </a:solidFill>
              <a:latin typeface="Century Gothic" pitchFamily="34" charset="0"/>
              <a:cs typeface="Cordia New" pitchFamily="34" charset="-34"/>
            </a:endParaRPr>
          </a:p>
        </p:txBody>
      </p:sp>
      <p:pic>
        <p:nvPicPr>
          <p:cNvPr id="453" name="Picture 452"/>
          <p:cNvPicPr>
            <a:picLocks noChangeAspect="1"/>
          </p:cNvPicPr>
          <p:nvPr>
            <p:custDataLst>
              <p:tags r:id="rId64"/>
            </p:custDataLst>
          </p:nvPr>
        </p:nvPicPr>
        <p:blipFill rotWithShape="1">
          <a:blip r:embed="rId1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3" t="13018" r="87458" b="70173"/>
          <a:stretch/>
        </p:blipFill>
        <p:spPr>
          <a:xfrm>
            <a:off x="3513132" y="2034219"/>
            <a:ext cx="729108" cy="1034741"/>
          </a:xfrm>
          <a:prstGeom prst="rect">
            <a:avLst/>
          </a:prstGeom>
        </p:spPr>
      </p:pic>
      <p:pic>
        <p:nvPicPr>
          <p:cNvPr id="454" name="Picture 453"/>
          <p:cNvPicPr>
            <a:picLocks noChangeAspect="1"/>
          </p:cNvPicPr>
          <p:nvPr>
            <p:custDataLst>
              <p:tags r:id="rId65"/>
            </p:custDataLst>
          </p:nvPr>
        </p:nvPicPr>
        <p:blipFill rotWithShape="1">
          <a:blip r:embed="rId1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88" t="13018" r="79927" b="70173"/>
          <a:stretch/>
        </p:blipFill>
        <p:spPr>
          <a:xfrm>
            <a:off x="5134136" y="2034219"/>
            <a:ext cx="714764" cy="1034741"/>
          </a:xfrm>
          <a:prstGeom prst="rect">
            <a:avLst/>
          </a:prstGeom>
        </p:spPr>
      </p:pic>
      <p:pic>
        <p:nvPicPr>
          <p:cNvPr id="455" name="Picture 454"/>
          <p:cNvPicPr>
            <a:picLocks noChangeAspect="1"/>
          </p:cNvPicPr>
          <p:nvPr>
            <p:custDataLst>
              <p:tags r:id="rId66"/>
            </p:custDataLst>
          </p:nvPr>
        </p:nvPicPr>
        <p:blipFill rotWithShape="1">
          <a:blip r:embed="rId1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30" t="13018" r="71684" b="70173"/>
          <a:stretch/>
        </p:blipFill>
        <p:spPr>
          <a:xfrm>
            <a:off x="5014614" y="4194459"/>
            <a:ext cx="891538" cy="1034741"/>
          </a:xfrm>
          <a:prstGeom prst="rect">
            <a:avLst/>
          </a:prstGeom>
        </p:spPr>
      </p:pic>
      <p:pic>
        <p:nvPicPr>
          <p:cNvPr id="456" name="Picture 455"/>
          <p:cNvPicPr>
            <a:picLocks noChangeAspect="1"/>
          </p:cNvPicPr>
          <p:nvPr>
            <p:custDataLst>
              <p:tags r:id="rId67"/>
            </p:custDataLst>
          </p:nvPr>
        </p:nvPicPr>
        <p:blipFill rotWithShape="1">
          <a:blip r:embed="rId1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66" t="13018" r="63274" b="70173"/>
          <a:stretch/>
        </p:blipFill>
        <p:spPr>
          <a:xfrm>
            <a:off x="3410810" y="4149080"/>
            <a:ext cx="731004" cy="1034741"/>
          </a:xfrm>
          <a:prstGeom prst="rect">
            <a:avLst/>
          </a:prstGeom>
        </p:spPr>
      </p:pic>
      <p:cxnSp>
        <p:nvCxnSpPr>
          <p:cNvPr id="7" name="Straight Connector 6"/>
          <p:cNvCxnSpPr/>
          <p:nvPr>
            <p:custDataLst>
              <p:tags r:id="rId68"/>
            </p:custDataLst>
          </p:nvPr>
        </p:nvCxnSpPr>
        <p:spPr bwMode="auto">
          <a:xfrm flipV="1">
            <a:off x="413151" y="6545065"/>
            <a:ext cx="8335313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3" name="Right Arrow 292"/>
          <p:cNvSpPr/>
          <p:nvPr>
            <p:custDataLst>
              <p:tags r:id="rId69"/>
            </p:custDataLst>
          </p:nvPr>
        </p:nvSpPr>
        <p:spPr bwMode="auto">
          <a:xfrm rot="13712866">
            <a:off x="4045399" y="2911323"/>
            <a:ext cx="370010" cy="456095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96" name="Right Arrow 295"/>
          <p:cNvSpPr/>
          <p:nvPr>
            <p:custDataLst>
              <p:tags r:id="rId70"/>
            </p:custDataLst>
          </p:nvPr>
        </p:nvSpPr>
        <p:spPr bwMode="auto">
          <a:xfrm rot="7887134" flipH="1">
            <a:off x="4963058" y="2911323"/>
            <a:ext cx="370010" cy="456095"/>
          </a:xfrm>
          <a:prstGeom prst="rightArrow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95" name="Right Arrow 294"/>
          <p:cNvSpPr/>
          <p:nvPr>
            <p:custDataLst>
              <p:tags r:id="rId71"/>
            </p:custDataLst>
          </p:nvPr>
        </p:nvSpPr>
        <p:spPr bwMode="auto">
          <a:xfrm rot="2951908" flipV="1">
            <a:off x="4964980" y="3850053"/>
            <a:ext cx="370010" cy="456095"/>
          </a:xfrm>
          <a:prstGeom prst="rightArrow">
            <a:avLst/>
          </a:prstGeom>
          <a:solidFill>
            <a:schemeClr val="accent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83568" y="6563220"/>
            <a:ext cx="999596" cy="250156"/>
            <a:chOff x="467544" y="6381328"/>
            <a:chExt cx="1609860" cy="402879"/>
          </a:xfrm>
        </p:grpSpPr>
        <p:pic>
          <p:nvPicPr>
            <p:cNvPr id="176" name="Picture 26"/>
            <p:cNvPicPr>
              <a:picLocks noChangeAspect="1" noChangeArrowheads="1"/>
            </p:cNvPicPr>
            <p:nvPr>
              <p:custDataLst>
                <p:tags r:id="rId72"/>
              </p:custDataLst>
            </p:nvPr>
          </p:nvPicPr>
          <p:blipFill>
            <a:blip r:embed="rId1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6417336"/>
              <a:ext cx="733244" cy="333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7" name="D2D73B51-7D85-49D5-BEB9-F2B429240C07" descr="D2D73B51-7D85-49D5-BEB9-F2B429240C07"/>
            <p:cNvPicPr>
              <a:picLocks noChangeAspect="1" noChangeArrowheads="1"/>
            </p:cNvPicPr>
            <p:nvPr>
              <p:custDataLst>
                <p:tags r:id="rId73"/>
              </p:custDataLst>
            </p:nvPr>
          </p:nvPicPr>
          <p:blipFill rotWithShape="1">
            <a:blip r:embed="rId1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836"/>
            <a:stretch/>
          </p:blipFill>
          <p:spPr bwMode="auto">
            <a:xfrm>
              <a:off x="1659170" y="6389419"/>
              <a:ext cx="418234" cy="394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8" name="Picture 2" descr="D:\Documents\PSK\Administration\logo and header\header en 5 cm.jpg"/>
            <p:cNvPicPr>
              <a:picLocks noChangeAspect="1" noChangeArrowheads="1"/>
            </p:cNvPicPr>
            <p:nvPr>
              <p:custDataLst>
                <p:tags r:id="rId74"/>
              </p:custDataLst>
            </p:nvPr>
          </p:nvPicPr>
          <p:blipFill rotWithShape="1">
            <a:blip r:embed="rId1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4035"/>
            <a:stretch/>
          </p:blipFill>
          <p:spPr bwMode="auto">
            <a:xfrm>
              <a:off x="1119118" y="6381328"/>
              <a:ext cx="455945" cy="400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12342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z="2400" dirty="0"/>
              <a:t>ภาพรวม</a:t>
            </a:r>
            <a:r>
              <a:rPr lang="th-TH" sz="2400" dirty="0" smtClean="0"/>
              <a:t>การเชื่อมต่อระบบ</a:t>
            </a:r>
            <a:r>
              <a:rPr lang="th-TH" sz="2400" dirty="0"/>
              <a:t>และการใช้งาน</a:t>
            </a:r>
            <a:r>
              <a:rPr lang="th-TH" sz="2400" dirty="0" smtClean="0"/>
              <a:t>ตั๋วร่วม</a:t>
            </a:r>
            <a:endParaRPr lang="th-TH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 bwMode="auto">
          <a:xfrm>
            <a:off x="5660220" y="1188185"/>
            <a:ext cx="3173361" cy="489463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th-TH" sz="1200" b="1" dirty="0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7" name="Rectangle 6"/>
          <p:cNvSpPr/>
          <p:nvPr>
            <p:custDataLst>
              <p:tags r:id="rId2"/>
            </p:custDataLst>
          </p:nvPr>
        </p:nvSpPr>
        <p:spPr bwMode="auto">
          <a:xfrm>
            <a:off x="318432" y="1605725"/>
            <a:ext cx="977987" cy="444003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th-TH" sz="1200" b="1" dirty="0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8" name="Rectangle 7"/>
          <p:cNvSpPr/>
          <p:nvPr>
            <p:custDataLst>
              <p:tags r:id="rId3"/>
            </p:custDataLst>
          </p:nvPr>
        </p:nvSpPr>
        <p:spPr bwMode="auto">
          <a:xfrm>
            <a:off x="4648324" y="1605725"/>
            <a:ext cx="914986" cy="447709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th-TH" sz="1200" b="1" dirty="0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9" name="Rectangle 8"/>
          <p:cNvSpPr/>
          <p:nvPr>
            <p:custDataLst>
              <p:tags r:id="rId4"/>
            </p:custDataLst>
          </p:nvPr>
        </p:nvSpPr>
        <p:spPr bwMode="auto">
          <a:xfrm>
            <a:off x="4648324" y="1188191"/>
            <a:ext cx="914986" cy="41753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th-TH" sz="1400" b="1" dirty="0" smtClean="0">
                <a:solidFill>
                  <a:prstClr val="white"/>
                </a:solidFill>
                <a:latin typeface="Cordia New"/>
                <a:cs typeface="Cordia New"/>
                <a:sym typeface="Cordia New"/>
              </a:rPr>
              <a:t>บัตรโดยสารร่วม</a:t>
            </a:r>
            <a:endParaRPr lang="th-TH" sz="1400" b="1" dirty="0">
              <a:solidFill>
                <a:prstClr val="white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10" name="TextBox 9"/>
          <p:cNvSpPr txBox="1"/>
          <p:nvPr>
            <p:custDataLst>
              <p:tags r:id="rId5"/>
            </p:custDataLst>
          </p:nvPr>
        </p:nvSpPr>
        <p:spPr>
          <a:xfrm>
            <a:off x="372265" y="2691085"/>
            <a:ext cx="838415" cy="4245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  <a:sym typeface="Cordia New"/>
              </a:rPr>
              <a:t>บัตรโดยสาร</a:t>
            </a:r>
            <a:endParaRPr lang="en-US" sz="14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  <a:sym typeface="Cordia New"/>
            </a:endParaRPr>
          </a:p>
        </p:txBody>
      </p:sp>
      <p:sp>
        <p:nvSpPr>
          <p:cNvPr id="11" name="TextBox 10"/>
          <p:cNvSpPr txBox="1"/>
          <p:nvPr>
            <p:custDataLst>
              <p:tags r:id="rId6"/>
            </p:custDataLst>
          </p:nvPr>
        </p:nvSpPr>
        <p:spPr>
          <a:xfrm>
            <a:off x="381759" y="1880829"/>
            <a:ext cx="838415" cy="4245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  <a:sym typeface="Cordia New"/>
              </a:rPr>
              <a:t>ผู้ให้บริการขนส่งฯ</a:t>
            </a:r>
            <a:endParaRPr lang="en-US" sz="14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  <a:sym typeface="Cordia New"/>
            </a:endParaRPr>
          </a:p>
        </p:txBody>
      </p:sp>
      <p:sp>
        <p:nvSpPr>
          <p:cNvPr id="12" name="TextBox 11"/>
          <p:cNvSpPr txBox="1"/>
          <p:nvPr>
            <p:custDataLst>
              <p:tags r:id="rId7"/>
            </p:custDataLst>
          </p:nvPr>
        </p:nvSpPr>
        <p:spPr>
          <a:xfrm>
            <a:off x="372265" y="3582259"/>
            <a:ext cx="838415" cy="4245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  <a:sym typeface="Cordia New"/>
              </a:rPr>
              <a:t>เครื่องอ่าน</a:t>
            </a:r>
            <a:endParaRPr lang="en-US" sz="14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  <a:sym typeface="Cordia New"/>
            </a:endParaRPr>
          </a:p>
        </p:txBody>
      </p:sp>
      <p:sp>
        <p:nvSpPr>
          <p:cNvPr id="13" name="TextBox 12"/>
          <p:cNvSpPr txBox="1"/>
          <p:nvPr>
            <p:custDataLst>
              <p:tags r:id="rId8"/>
            </p:custDataLst>
          </p:nvPr>
        </p:nvSpPr>
        <p:spPr>
          <a:xfrm>
            <a:off x="381759" y="4464114"/>
            <a:ext cx="838415" cy="42450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prstClr val="black"/>
                </a:solidFill>
                <a:latin typeface="+mj-lt"/>
                <a:cs typeface="Cordia New" pitchFamily="34" charset="-34"/>
                <a:sym typeface="Cordia New"/>
              </a:rPr>
              <a:t>Back Office</a:t>
            </a:r>
            <a:endParaRPr lang="th-TH" sz="900" b="1" dirty="0">
              <a:solidFill>
                <a:prstClr val="black"/>
              </a:solidFill>
              <a:latin typeface="+mj-lt"/>
              <a:cs typeface="Cordia New" pitchFamily="34" charset="-34"/>
              <a:sym typeface="Cordia New"/>
            </a:endParaRPr>
          </a:p>
        </p:txBody>
      </p:sp>
      <p:sp>
        <p:nvSpPr>
          <p:cNvPr id="14" name="TextBox 13"/>
          <p:cNvSpPr txBox="1"/>
          <p:nvPr>
            <p:custDataLst>
              <p:tags r:id="rId9"/>
            </p:custDataLst>
          </p:nvPr>
        </p:nvSpPr>
        <p:spPr>
          <a:xfrm>
            <a:off x="339838" y="5210081"/>
            <a:ext cx="922257" cy="683662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  <a:sym typeface="Cordia New"/>
              </a:rPr>
              <a:t>ศูนย์บริหารจัดการรายได้กลาง</a:t>
            </a:r>
            <a:r>
              <a:rPr lang="en-US" sz="14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  <a:sym typeface="Cordia New"/>
              </a:rPr>
              <a:t>(CCH)</a:t>
            </a:r>
            <a:endParaRPr lang="th-TH" sz="14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  <a:sym typeface="Cordia New"/>
            </a:endParaRPr>
          </a:p>
        </p:txBody>
      </p:sp>
      <p:pic>
        <p:nvPicPr>
          <p:cNvPr id="15" name="Picture 11" descr="http://www.onlinenz.net/shop/images/web-hosting-server.jp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9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7416" y="5271098"/>
            <a:ext cx="803204" cy="774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>
            <p:custDataLst>
              <p:tags r:id="rId11"/>
            </p:custDataLst>
          </p:nvPr>
        </p:nvSpPr>
        <p:spPr bwMode="auto">
          <a:xfrm>
            <a:off x="318435" y="1212421"/>
            <a:ext cx="977986" cy="41340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r>
              <a:rPr lang="th-TH" sz="1400" b="1" dirty="0" smtClean="0">
                <a:solidFill>
                  <a:prstClr val="white"/>
                </a:solidFill>
                <a:latin typeface="Cordia New"/>
                <a:cs typeface="Cordia New"/>
                <a:sym typeface="Cordia New"/>
              </a:rPr>
              <a:t>องค์ประกอบ</a:t>
            </a:r>
            <a:endParaRPr lang="th-TH" sz="1400" b="1" dirty="0">
              <a:solidFill>
                <a:prstClr val="white"/>
              </a:solidFill>
              <a:latin typeface="Cordia New"/>
              <a:cs typeface="Cordia New"/>
              <a:sym typeface="Cordia New"/>
            </a:endParaRPr>
          </a:p>
        </p:txBody>
      </p:sp>
      <p:cxnSp>
        <p:nvCxnSpPr>
          <p:cNvPr id="17" name="Straight Connector 32"/>
          <p:cNvCxnSpPr>
            <a:endCxn id="29" idx="0"/>
          </p:cNvCxnSpPr>
          <p:nvPr>
            <p:custDataLst>
              <p:tags r:id="rId12"/>
            </p:custDataLst>
          </p:nvPr>
        </p:nvCxnSpPr>
        <p:spPr bwMode="auto">
          <a:xfrm flipH="1">
            <a:off x="5149221" y="3031300"/>
            <a:ext cx="1260994" cy="13464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32"/>
          <p:cNvCxnSpPr>
            <a:stCxn id="15" idx="0"/>
            <a:endCxn id="38" idx="2"/>
          </p:cNvCxnSpPr>
          <p:nvPr>
            <p:custDataLst>
              <p:tags r:id="rId13"/>
            </p:custDataLst>
          </p:nvPr>
        </p:nvCxnSpPr>
        <p:spPr bwMode="auto">
          <a:xfrm flipV="1">
            <a:off x="5099018" y="5178862"/>
            <a:ext cx="2247269" cy="9223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32"/>
          <p:cNvCxnSpPr>
            <a:stCxn id="96" idx="2"/>
            <a:endCxn id="29" idx="0"/>
          </p:cNvCxnSpPr>
          <p:nvPr>
            <p:custDataLst>
              <p:tags r:id="rId14"/>
            </p:custDataLst>
          </p:nvPr>
        </p:nvCxnSpPr>
        <p:spPr bwMode="auto">
          <a:xfrm>
            <a:off x="2642832" y="2308960"/>
            <a:ext cx="2506389" cy="8569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32"/>
          <p:cNvCxnSpPr>
            <a:endCxn id="29" idx="0"/>
          </p:cNvCxnSpPr>
          <p:nvPr>
            <p:custDataLst>
              <p:tags r:id="rId15"/>
            </p:custDataLst>
          </p:nvPr>
        </p:nvCxnSpPr>
        <p:spPr bwMode="auto">
          <a:xfrm>
            <a:off x="4155857" y="2166239"/>
            <a:ext cx="993364" cy="99970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32"/>
          <p:cNvCxnSpPr/>
          <p:nvPr>
            <p:custDataLst>
              <p:tags r:id="rId16"/>
            </p:custDataLst>
          </p:nvPr>
        </p:nvCxnSpPr>
        <p:spPr bwMode="auto">
          <a:xfrm flipV="1">
            <a:off x="4159501" y="3462728"/>
            <a:ext cx="980519" cy="20742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32"/>
          <p:cNvCxnSpPr>
            <a:stCxn id="70" idx="0"/>
          </p:cNvCxnSpPr>
          <p:nvPr>
            <p:custDataLst>
              <p:tags r:id="rId17"/>
            </p:custDataLst>
          </p:nvPr>
        </p:nvCxnSpPr>
        <p:spPr bwMode="auto">
          <a:xfrm flipV="1">
            <a:off x="2548236" y="3462728"/>
            <a:ext cx="2695804" cy="21942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32"/>
          <p:cNvCxnSpPr>
            <a:stCxn id="15" idx="0"/>
          </p:cNvCxnSpPr>
          <p:nvPr>
            <p:custDataLst>
              <p:tags r:id="rId18"/>
            </p:custDataLst>
          </p:nvPr>
        </p:nvCxnSpPr>
        <p:spPr bwMode="auto">
          <a:xfrm flipH="1" flipV="1">
            <a:off x="4171804" y="5036466"/>
            <a:ext cx="927214" cy="2346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32"/>
          <p:cNvCxnSpPr>
            <a:stCxn id="15" idx="0"/>
            <a:endCxn id="79" idx="2"/>
          </p:cNvCxnSpPr>
          <p:nvPr>
            <p:custDataLst>
              <p:tags r:id="rId19"/>
            </p:custDataLst>
          </p:nvPr>
        </p:nvCxnSpPr>
        <p:spPr bwMode="auto">
          <a:xfrm flipH="1" flipV="1">
            <a:off x="2540040" y="5036466"/>
            <a:ext cx="2558978" cy="2346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25" name="Group 24"/>
          <p:cNvGrpSpPr/>
          <p:nvPr>
            <p:custDataLst>
              <p:tags r:id="rId20"/>
            </p:custDataLst>
          </p:nvPr>
        </p:nvGrpSpPr>
        <p:grpSpPr>
          <a:xfrm>
            <a:off x="4792340" y="3165946"/>
            <a:ext cx="767956" cy="1020434"/>
            <a:chOff x="5875526" y="2598368"/>
            <a:chExt cx="892969" cy="1111364"/>
          </a:xfrm>
        </p:grpSpPr>
        <p:sp>
          <p:nvSpPr>
            <p:cNvPr id="26" name="Oval 25"/>
            <p:cNvSpPr/>
            <p:nvPr>
              <p:custDataLst>
                <p:tags r:id="rId90"/>
              </p:custDataLst>
            </p:nvPr>
          </p:nvSpPr>
          <p:spPr bwMode="auto">
            <a:xfrm>
              <a:off x="6508052" y="2602203"/>
              <a:ext cx="260443" cy="26044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rtlCol="0" anchor="ctr"/>
            <a:lstStyle/>
            <a:p>
              <a:pPr marL="285750" indent="-285750" algn="ctr">
                <a:buFont typeface="Arial" pitchFamily="34" charset="0"/>
                <a:buChar char="•"/>
              </a:pPr>
              <a:endParaRPr lang="th-TH" sz="1600" b="0" dirty="0" smtClean="0">
                <a:latin typeface="Cordia New" pitchFamily="34" charset="-34"/>
                <a:cs typeface="Cordia New" pitchFamily="34" charset="-34"/>
              </a:endParaRPr>
            </a:p>
          </p:txBody>
        </p:sp>
        <p:sp>
          <p:nvSpPr>
            <p:cNvPr id="27" name="Oval 26"/>
            <p:cNvSpPr/>
            <p:nvPr>
              <p:custDataLst>
                <p:tags r:id="rId91"/>
              </p:custDataLst>
            </p:nvPr>
          </p:nvSpPr>
          <p:spPr bwMode="auto">
            <a:xfrm>
              <a:off x="6508052" y="2900116"/>
              <a:ext cx="260443" cy="26044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rtlCol="0" anchor="ctr"/>
            <a:lstStyle/>
            <a:p>
              <a:pPr marL="285750" indent="-285750" algn="ctr">
                <a:buFont typeface="Arial" pitchFamily="34" charset="0"/>
                <a:buChar char="•"/>
              </a:pPr>
              <a:endParaRPr lang="th-TH" sz="1600" b="0" dirty="0" smtClean="0">
                <a:latin typeface="Cordia New" pitchFamily="34" charset="-34"/>
                <a:cs typeface="Cordia New" pitchFamily="34" charset="-34"/>
              </a:endParaRPr>
            </a:p>
          </p:txBody>
        </p:sp>
        <p:sp>
          <p:nvSpPr>
            <p:cNvPr id="28" name="Rectangle 27"/>
            <p:cNvSpPr/>
            <p:nvPr>
              <p:custDataLst>
                <p:tags r:id="rId92"/>
              </p:custDataLst>
            </p:nvPr>
          </p:nvSpPr>
          <p:spPr bwMode="auto">
            <a:xfrm>
              <a:off x="5897458" y="3277484"/>
              <a:ext cx="721927" cy="43224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lnSpc>
                  <a:spcPts val="17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chemeClr val="accent1"/>
                  </a:solidFill>
                  <a:latin typeface="Cordia New" pitchFamily="34" charset="-34"/>
                  <a:cs typeface="Cordia New" pitchFamily="34" charset="-34"/>
                </a:rPr>
                <a:t>National Card</a:t>
              </a:r>
              <a:endParaRPr lang="th-TH" sz="1400" b="1" dirty="0">
                <a:solidFill>
                  <a:schemeClr val="accent1"/>
                </a:solidFill>
                <a:latin typeface="Cordia New" pitchFamily="34" charset="-34"/>
                <a:cs typeface="Cordia New" pitchFamily="34" charset="-34"/>
              </a:endParaRPr>
            </a:p>
          </p:txBody>
        </p:sp>
        <p:pic>
          <p:nvPicPr>
            <p:cNvPr id="29" name="Picture 6"/>
            <p:cNvPicPr>
              <a:picLocks noChangeAspect="1" noChangeArrowheads="1"/>
            </p:cNvPicPr>
            <p:nvPr>
              <p:custDataLst>
                <p:tags r:id="rId93"/>
              </p:custDataLst>
            </p:nvPr>
          </p:nvPicPr>
          <p:blipFill>
            <a:blip r:embed="rId9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5526" y="2598368"/>
              <a:ext cx="829952" cy="558281"/>
            </a:xfrm>
            <a:prstGeom prst="roundRect">
              <a:avLst/>
            </a:prstGeom>
            <a:gradFill flip="none" rotWithShape="1">
              <a:gsLst>
                <a:gs pos="0">
                  <a:schemeClr val="accent2">
                    <a:lumMod val="40000"/>
                    <a:lumOff val="60000"/>
                    <a:shade val="30000"/>
                    <a:satMod val="115000"/>
                  </a:schemeClr>
                </a:gs>
                <a:gs pos="50000">
                  <a:schemeClr val="accent2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accent2">
                    <a:lumMod val="40000"/>
                    <a:lumOff val="6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pic>
        <p:sp>
          <p:nvSpPr>
            <p:cNvPr id="30" name="Rectangle 29"/>
            <p:cNvSpPr/>
            <p:nvPr>
              <p:custDataLst>
                <p:tags r:id="rId94"/>
              </p:custDataLst>
            </p:nvPr>
          </p:nvSpPr>
          <p:spPr bwMode="auto">
            <a:xfrm>
              <a:off x="5889104" y="2627955"/>
              <a:ext cx="298761" cy="16385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i="1" dirty="0" smtClean="0">
                  <a:solidFill>
                    <a:schemeClr val="bg1"/>
                  </a:solidFill>
                  <a:latin typeface="Cordia New" pitchFamily="34" charset="-34"/>
                  <a:cs typeface="Cordia New" pitchFamily="34" charset="-34"/>
                </a:rPr>
                <a:t>NC</a:t>
              </a:r>
              <a:endParaRPr lang="th-TH" sz="2000" i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endParaRPr>
            </a:p>
          </p:txBody>
        </p:sp>
      </p:grpSp>
      <p:sp>
        <p:nvSpPr>
          <p:cNvPr id="31" name="Rectangle 30"/>
          <p:cNvSpPr/>
          <p:nvPr>
            <p:custDataLst>
              <p:tags r:id="rId21"/>
            </p:custDataLst>
          </p:nvPr>
        </p:nvSpPr>
        <p:spPr bwMode="auto">
          <a:xfrm>
            <a:off x="5660225" y="1188191"/>
            <a:ext cx="3173356" cy="41753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r>
              <a:rPr lang="th-TH" sz="1400" b="1" dirty="0" smtClean="0">
                <a:solidFill>
                  <a:prstClr val="white"/>
                </a:solidFill>
                <a:latin typeface="Cordia New"/>
                <a:cs typeface="Cordia New"/>
                <a:sym typeface="Cordia New"/>
              </a:rPr>
              <a:t>ผู้ให้บริการในอนาคต</a:t>
            </a:r>
            <a:endParaRPr lang="th-TH" sz="1400" b="1" dirty="0">
              <a:solidFill>
                <a:prstClr val="white"/>
              </a:solidFill>
              <a:latin typeface="Cordia New"/>
              <a:cs typeface="Cordia New"/>
              <a:sym typeface="Cordia New"/>
            </a:endParaRPr>
          </a:p>
        </p:txBody>
      </p:sp>
      <p:pic>
        <p:nvPicPr>
          <p:cNvPr id="32" name="Picture 7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 rotWithShape="1">
          <a:blip r:embed="rId9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28" t="20585" r="31544"/>
          <a:stretch/>
        </p:blipFill>
        <p:spPr bwMode="auto">
          <a:xfrm>
            <a:off x="5843074" y="2737495"/>
            <a:ext cx="289858" cy="293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8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 rotWithShape="1">
          <a:blip r:embed="rId9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19" t="10578" r="19394"/>
          <a:stretch/>
        </p:blipFill>
        <p:spPr bwMode="auto">
          <a:xfrm>
            <a:off x="6660232" y="2230090"/>
            <a:ext cx="332872" cy="3348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15" descr="http://saethailand.com/en/thailand/images/180px-BMTA_Eng_Logo.svg.png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10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6756" y="2261039"/>
            <a:ext cx="363368" cy="269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7" descr="http://202.12.97.4/prkku/upload/pic2552/c348797f54f955dd332f87d1341f6219.jpg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 rotWithShape="1">
          <a:blip r:embed="rId10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9" t="19583" r="4979" b="8392"/>
          <a:stretch/>
        </p:blipFill>
        <p:spPr bwMode="auto">
          <a:xfrm>
            <a:off x="6728048" y="2786747"/>
            <a:ext cx="401362" cy="1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10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963" y="2757831"/>
            <a:ext cx="368504" cy="2531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28" descr="http://vigportal.mot.go.th/portal/templates/template0007/bXUTQeYdZSccWTZcTYVTXffVVQWQQRca/DOH_logo.jpg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10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1794" y="2221113"/>
            <a:ext cx="344723" cy="315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/>
          <p:cNvSpPr txBox="1"/>
          <p:nvPr>
            <p:custDataLst>
              <p:tags r:id="rId28"/>
            </p:custDataLst>
          </p:nvPr>
        </p:nvSpPr>
        <p:spPr>
          <a:xfrm>
            <a:off x="6765666" y="3754332"/>
            <a:ext cx="1161241" cy="1424530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  <a:prstDash val="sysDash"/>
          </a:ln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  <a:sym typeface="Cordia New"/>
              </a:rPr>
              <a:t>ติดตั้งระบบ </a:t>
            </a:r>
            <a:r>
              <a:rPr lang="en-US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  <a:sym typeface="Cordia New"/>
              </a:rPr>
              <a:t>AFC </a:t>
            </a:r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  <a:sym typeface="Cordia New"/>
              </a:rPr>
              <a:t>เพื่อรองรับ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  <a:sym typeface="Cordia New"/>
              </a:rPr>
              <a:t>ระบบตั๋วร่วม</a:t>
            </a:r>
            <a:endParaRPr lang="en-US" sz="1400" dirty="0">
              <a:solidFill>
                <a:prstClr val="black"/>
              </a:solidFill>
              <a:latin typeface="Cordia New" pitchFamily="34" charset="-34"/>
              <a:cs typeface="Cordia New" pitchFamily="34" charset="-34"/>
              <a:sym typeface="Cordia New"/>
            </a:endParaRPr>
          </a:p>
        </p:txBody>
      </p:sp>
      <p:pic>
        <p:nvPicPr>
          <p:cNvPr id="39" name="Picture 3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 rotWithShape="1">
          <a:blip r:embed="rId10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32252" y="1709947"/>
            <a:ext cx="745714" cy="3177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" name="Rectangle 39"/>
          <p:cNvSpPr/>
          <p:nvPr>
            <p:custDataLst>
              <p:tags r:id="rId30"/>
            </p:custDataLst>
          </p:nvPr>
        </p:nvSpPr>
        <p:spPr bwMode="auto">
          <a:xfrm>
            <a:off x="6684706" y="1697081"/>
            <a:ext cx="425002" cy="61045"/>
          </a:xfrm>
          <a:prstGeom prst="rect">
            <a:avLst/>
          </a:prstGeom>
          <a:solidFill>
            <a:srgbClr val="B686F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1" name="Rectangle 40"/>
          <p:cNvSpPr/>
          <p:nvPr>
            <p:custDataLst>
              <p:tags r:id="rId31"/>
            </p:custDataLst>
          </p:nvPr>
        </p:nvSpPr>
        <p:spPr bwMode="auto">
          <a:xfrm>
            <a:off x="6684706" y="1790599"/>
            <a:ext cx="425002" cy="61045"/>
          </a:xfrm>
          <a:prstGeom prst="rect">
            <a:avLst/>
          </a:prstGeom>
          <a:solidFill>
            <a:srgbClr val="F7800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2" name="Rectangle 41"/>
          <p:cNvSpPr/>
          <p:nvPr>
            <p:custDataLst>
              <p:tags r:id="rId32"/>
            </p:custDataLst>
          </p:nvPr>
        </p:nvSpPr>
        <p:spPr bwMode="auto">
          <a:xfrm>
            <a:off x="6684706" y="1884117"/>
            <a:ext cx="425002" cy="61045"/>
          </a:xfrm>
          <a:prstGeom prst="rect">
            <a:avLst/>
          </a:prstGeom>
          <a:solidFill>
            <a:srgbClr val="FF99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3" name="Rectangle 42"/>
          <p:cNvSpPr/>
          <p:nvPr>
            <p:custDataLst>
              <p:tags r:id="rId33"/>
            </p:custDataLst>
          </p:nvPr>
        </p:nvSpPr>
        <p:spPr bwMode="auto">
          <a:xfrm>
            <a:off x="6684706" y="1965095"/>
            <a:ext cx="425002" cy="61045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44" name="Straight Connector 43"/>
          <p:cNvCxnSpPr/>
          <p:nvPr>
            <p:custDataLst>
              <p:tags r:id="rId34"/>
            </p:custDataLst>
          </p:nvPr>
        </p:nvCxnSpPr>
        <p:spPr bwMode="auto">
          <a:xfrm>
            <a:off x="7473569" y="1611588"/>
            <a:ext cx="0" cy="16886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5" name="Picture 5"/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>
          <a:blip r:embed="rId10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09344" y="1683168"/>
            <a:ext cx="463895" cy="41085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6"/>
          <p:cNvPicPr>
            <a:picLocks noChangeAspect="1" noChangeArrowheads="1"/>
          </p:cNvPicPr>
          <p:nvPr>
            <p:custDataLst>
              <p:tags r:id="rId36"/>
            </p:custDataLst>
          </p:nvPr>
        </p:nvPicPr>
        <p:blipFill>
          <a:blip r:embed="rId10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0301" y="2754138"/>
            <a:ext cx="321955" cy="35977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7" name="Picture 14" descr="http://profile.ak.fbcdn.net/hprofile-ak-snc4/373603_126495977378097_1287068836_n.jpg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>
          <a:blip r:embed="rId10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1329" y="2174191"/>
            <a:ext cx="443601" cy="401501"/>
          </a:xfrm>
          <a:prstGeom prst="rect">
            <a:avLst/>
          </a:prstGeom>
          <a:solidFill>
            <a:schemeClr val="bg2">
              <a:lumMod val="95000"/>
            </a:schemeClr>
          </a:solidFill>
          <a:extLst/>
        </p:spPr>
      </p:pic>
      <p:pic>
        <p:nvPicPr>
          <p:cNvPr id="48" name="Picture 49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10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3751" y="2229357"/>
            <a:ext cx="436716" cy="35263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7"/>
          <p:cNvPicPr>
            <a:picLocks noChangeAspect="1" noChangeArrowheads="1"/>
          </p:cNvPicPr>
          <p:nvPr>
            <p:custDataLst>
              <p:tags r:id="rId39"/>
            </p:custDataLst>
          </p:nvPr>
        </p:nvPicPr>
        <p:blipFill>
          <a:blip r:embed="rId10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149" y="1695559"/>
            <a:ext cx="474641" cy="403912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49" descr="http://img.online-station.net/_news/2009/0713/27493_smart-purse-card.JPG"/>
          <p:cNvPicPr>
            <a:picLocks noChangeAspect="1" noChangeArrowheads="1"/>
          </p:cNvPicPr>
          <p:nvPr>
            <p:custDataLst>
              <p:tags r:id="rId40"/>
            </p:custDataLst>
          </p:nvPr>
        </p:nvPicPr>
        <p:blipFill>
          <a:blip r:embed="rId1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3076" y="2765147"/>
            <a:ext cx="552099" cy="316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 descr="http://www.rent4room.com/img/logo/MRT_logo.png"/>
          <p:cNvPicPr>
            <a:picLocks noChangeAspect="1" noChangeArrowheads="1"/>
          </p:cNvPicPr>
          <p:nvPr>
            <p:custDataLst>
              <p:tags r:id="rId41"/>
            </p:custDataLst>
          </p:nvPr>
        </p:nvPicPr>
        <p:blipFill rotWithShape="1">
          <a:blip r:embed="rId1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74" b="21491"/>
          <a:stretch/>
        </p:blipFill>
        <p:spPr bwMode="auto">
          <a:xfrm>
            <a:off x="3136234" y="1954843"/>
            <a:ext cx="440015" cy="250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" descr="http://www.thaigoodview.com/files/u72862/Bangkok_BRT_Logo.png"/>
          <p:cNvPicPr>
            <a:picLocks noChangeAspect="1" noChangeArrowheads="1"/>
          </p:cNvPicPr>
          <p:nvPr>
            <p:custDataLst>
              <p:tags r:id="rId42"/>
            </p:custDataLst>
          </p:nvPr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8492" y="1922729"/>
            <a:ext cx="377677" cy="426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Straight Connector 52"/>
          <p:cNvCxnSpPr/>
          <p:nvPr>
            <p:custDataLst>
              <p:tags r:id="rId43"/>
            </p:custDataLst>
          </p:nvPr>
        </p:nvCxnSpPr>
        <p:spPr bwMode="auto">
          <a:xfrm>
            <a:off x="3217204" y="2227078"/>
            <a:ext cx="282454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4" name="Picture 19"/>
          <p:cNvPicPr>
            <a:picLocks noChangeAspect="1" noChangeArrowheads="1"/>
          </p:cNvPicPr>
          <p:nvPr>
            <p:custDataLst>
              <p:tags r:id="rId44"/>
            </p:custDataLst>
          </p:nvPr>
        </p:nvPicPr>
        <p:blipFill rotWithShape="1"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428"/>
          <a:stretch/>
        </p:blipFill>
        <p:spPr bwMode="auto">
          <a:xfrm>
            <a:off x="3857382" y="2012888"/>
            <a:ext cx="647749" cy="153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Rectangle 54"/>
          <p:cNvSpPr/>
          <p:nvPr>
            <p:custDataLst>
              <p:tags r:id="rId45"/>
            </p:custDataLst>
          </p:nvPr>
        </p:nvSpPr>
        <p:spPr bwMode="auto">
          <a:xfrm>
            <a:off x="1399016" y="1212422"/>
            <a:ext cx="3103202" cy="41340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r>
              <a:rPr lang="th-TH" sz="1400" b="1" dirty="0" smtClean="0">
                <a:solidFill>
                  <a:prstClr val="white"/>
                </a:solidFill>
                <a:latin typeface="Cordia New"/>
                <a:cs typeface="Cordia New"/>
                <a:sym typeface="Cordia New"/>
              </a:rPr>
              <a:t>ผู้ให้บริการ </a:t>
            </a:r>
            <a:r>
              <a:rPr lang="en-US" sz="1400" b="1" dirty="0" smtClean="0">
                <a:solidFill>
                  <a:prstClr val="white"/>
                </a:solidFill>
                <a:latin typeface="Cordia New"/>
                <a:cs typeface="Cordia New"/>
                <a:sym typeface="Cordia New"/>
              </a:rPr>
              <a:t>AFC </a:t>
            </a:r>
            <a:r>
              <a:rPr lang="th-TH" sz="1400" b="1" dirty="0" smtClean="0">
                <a:solidFill>
                  <a:prstClr val="white"/>
                </a:solidFill>
                <a:latin typeface="Cordia New"/>
                <a:cs typeface="Cordia New"/>
                <a:sym typeface="Cordia New"/>
              </a:rPr>
              <a:t>ในปัจจุบัน</a:t>
            </a:r>
            <a:endParaRPr lang="th-TH" sz="1400" b="1" dirty="0">
              <a:solidFill>
                <a:prstClr val="white"/>
              </a:solidFill>
              <a:latin typeface="Cordia New"/>
              <a:cs typeface="Cordia New"/>
              <a:sym typeface="Cordia New"/>
            </a:endParaRPr>
          </a:p>
        </p:txBody>
      </p:sp>
      <p:pic>
        <p:nvPicPr>
          <p:cNvPr id="56" name="Picture 4" descr="http://assets.prod.clam9.com/133774548526182_320x320.png"/>
          <p:cNvPicPr>
            <a:picLocks noChangeAspect="1" noChangeArrowheads="1"/>
          </p:cNvPicPr>
          <p:nvPr>
            <p:custDataLst>
              <p:tags r:id="rId46"/>
            </p:custDataLst>
          </p:nvPr>
        </p:nvPicPr>
        <p:blipFill>
          <a:blip r:embed="rId1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3052" y="2658146"/>
            <a:ext cx="365848" cy="50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6" descr="http://cdn.learners.in.th/assets/media/files/000/090/132/original_ss.jpg.jpg?1285612290"/>
          <p:cNvPicPr>
            <a:picLocks noChangeAspect="1" noChangeArrowheads="1"/>
          </p:cNvPicPr>
          <p:nvPr>
            <p:custDataLst>
              <p:tags r:id="rId47"/>
            </p:custDataLst>
          </p:nvPr>
        </p:nvPicPr>
        <p:blipFill>
          <a:blip r:embed="rId1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9466" y="2725337"/>
            <a:ext cx="436203" cy="365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1" descr="http://www.bangkokmetro.co.th/web/imgcontent/Image/15-day-pass.jpg"/>
          <p:cNvPicPr>
            <a:picLocks noChangeAspect="1" noChangeArrowheads="1"/>
          </p:cNvPicPr>
          <p:nvPr>
            <p:custDataLst>
              <p:tags r:id="rId48"/>
            </p:custDataLst>
          </p:nvPr>
        </p:nvPicPr>
        <p:blipFill>
          <a:blip r:embed="rId1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040" y="2720139"/>
            <a:ext cx="422081" cy="376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9" name="Elbow Connector 58"/>
          <p:cNvCxnSpPr>
            <a:stCxn id="67" idx="4"/>
            <a:endCxn id="57" idx="0"/>
          </p:cNvCxnSpPr>
          <p:nvPr>
            <p:custDataLst>
              <p:tags r:id="rId49"/>
            </p:custDataLst>
          </p:nvPr>
        </p:nvCxnSpPr>
        <p:spPr bwMode="auto">
          <a:xfrm rot="16200000" flipH="1">
            <a:off x="2079366" y="2267133"/>
            <a:ext cx="535401" cy="381007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0" name="Elbow Connector 26"/>
          <p:cNvCxnSpPr>
            <a:stCxn id="62" idx="4"/>
            <a:endCxn id="57" idx="0"/>
          </p:cNvCxnSpPr>
          <p:nvPr>
            <p:custDataLst>
              <p:tags r:id="rId50"/>
            </p:custDataLst>
          </p:nvPr>
        </p:nvCxnSpPr>
        <p:spPr bwMode="auto">
          <a:xfrm flipH="1">
            <a:off x="2537574" y="2230678"/>
            <a:ext cx="9577" cy="49466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1" name="Elbow Connector 60"/>
          <p:cNvCxnSpPr>
            <a:stCxn id="63" idx="4"/>
            <a:endCxn id="56" idx="0"/>
          </p:cNvCxnSpPr>
          <p:nvPr>
            <p:custDataLst>
              <p:tags r:id="rId51"/>
            </p:custDataLst>
          </p:nvPr>
        </p:nvCxnSpPr>
        <p:spPr bwMode="auto">
          <a:xfrm rot="16200000" flipH="1">
            <a:off x="2700103" y="2242276"/>
            <a:ext cx="399267" cy="432473"/>
          </a:xfrm>
          <a:prstGeom prst="bentConnector3">
            <a:avLst>
              <a:gd name="adj1" fmla="val 57558"/>
            </a:avLst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2" name="Oval 61"/>
          <p:cNvSpPr/>
          <p:nvPr>
            <p:custDataLst>
              <p:tags r:id="rId52"/>
            </p:custDataLst>
          </p:nvPr>
        </p:nvSpPr>
        <p:spPr bwMode="auto">
          <a:xfrm>
            <a:off x="2480063" y="2057387"/>
            <a:ext cx="134168" cy="173282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th-TH" sz="1200" b="1" dirty="0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63" name="Oval 62"/>
          <p:cNvSpPr/>
          <p:nvPr>
            <p:custDataLst>
              <p:tags r:id="rId53"/>
            </p:custDataLst>
          </p:nvPr>
        </p:nvSpPr>
        <p:spPr bwMode="auto">
          <a:xfrm>
            <a:off x="2616418" y="2057383"/>
            <a:ext cx="134168" cy="201489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th-TH" sz="1200" b="1" dirty="0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cxnSp>
        <p:nvCxnSpPr>
          <p:cNvPr id="64" name="Elbow Connector 63"/>
          <p:cNvCxnSpPr>
            <a:endCxn id="56" idx="0"/>
          </p:cNvCxnSpPr>
          <p:nvPr>
            <p:custDataLst>
              <p:tags r:id="rId54"/>
            </p:custDataLst>
          </p:nvPr>
        </p:nvCxnSpPr>
        <p:spPr bwMode="auto">
          <a:xfrm rot="5400000">
            <a:off x="3028365" y="2406110"/>
            <a:ext cx="339648" cy="16442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65" name="Elbow Connector 64"/>
          <p:cNvCxnSpPr>
            <a:endCxn id="58" idx="0"/>
          </p:cNvCxnSpPr>
          <p:nvPr>
            <p:custDataLst>
              <p:tags r:id="rId55"/>
            </p:custDataLst>
          </p:nvPr>
        </p:nvCxnSpPr>
        <p:spPr bwMode="auto">
          <a:xfrm rot="16200000" flipH="1">
            <a:off x="3300593" y="2486650"/>
            <a:ext cx="401641" cy="65336"/>
          </a:xfrm>
          <a:prstGeom prst="bentConnector3">
            <a:avLst>
              <a:gd name="adj1" fmla="val 14310"/>
            </a:avLst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6" name="Straight Arrow Connector 65"/>
          <p:cNvCxnSpPr>
            <a:stCxn id="54" idx="2"/>
            <a:endCxn id="97" idx="0"/>
          </p:cNvCxnSpPr>
          <p:nvPr>
            <p:custDataLst>
              <p:tags r:id="rId56"/>
            </p:custDataLst>
          </p:nvPr>
        </p:nvCxnSpPr>
        <p:spPr bwMode="auto">
          <a:xfrm>
            <a:off x="4181257" y="2166240"/>
            <a:ext cx="7800" cy="56043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7" name="Oval 66"/>
          <p:cNvSpPr/>
          <p:nvPr>
            <p:custDataLst>
              <p:tags r:id="rId57"/>
            </p:custDataLst>
          </p:nvPr>
        </p:nvSpPr>
        <p:spPr bwMode="auto">
          <a:xfrm>
            <a:off x="2089479" y="2016652"/>
            <a:ext cx="134168" cy="173282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th-TH" sz="1200" b="1" dirty="0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grpSp>
        <p:nvGrpSpPr>
          <p:cNvPr id="68" name="Group 364"/>
          <p:cNvGrpSpPr>
            <a:grpSpLocks/>
          </p:cNvGrpSpPr>
          <p:nvPr>
            <p:custDataLst>
              <p:tags r:id="rId58"/>
            </p:custDataLst>
          </p:nvPr>
        </p:nvGrpSpPr>
        <p:grpSpPr bwMode="auto">
          <a:xfrm>
            <a:off x="2285916" y="3682154"/>
            <a:ext cx="524640" cy="517882"/>
            <a:chOff x="1447" y="1477"/>
            <a:chExt cx="503" cy="383"/>
          </a:xfrm>
        </p:grpSpPr>
        <p:pic>
          <p:nvPicPr>
            <p:cNvPr id="69" name="Picture 362"/>
            <p:cNvPicPr>
              <a:picLocks noChangeAspect="1" noChangeArrowheads="1"/>
            </p:cNvPicPr>
            <p:nvPr/>
          </p:nvPicPr>
          <p:blipFill>
            <a:blip r:embed="rId1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" y="1477"/>
              <a:ext cx="503" cy="3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0" name="Picture 363"/>
            <p:cNvPicPr>
              <a:picLocks noChangeAspect="1" noChangeArrowheads="1"/>
            </p:cNvPicPr>
            <p:nvPr/>
          </p:nvPicPr>
          <p:blipFill>
            <a:blip r:embed="rId1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" y="1477"/>
              <a:ext cx="503" cy="3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71" name="Elbow Connector 70"/>
          <p:cNvCxnSpPr>
            <a:stCxn id="73" idx="4"/>
          </p:cNvCxnSpPr>
          <p:nvPr>
            <p:custDataLst>
              <p:tags r:id="rId59"/>
            </p:custDataLst>
          </p:nvPr>
        </p:nvCxnSpPr>
        <p:spPr bwMode="auto">
          <a:xfrm rot="5400000">
            <a:off x="2475130" y="3192266"/>
            <a:ext cx="435448" cy="30506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2" name="Elbow Connector 138"/>
          <p:cNvCxnSpPr>
            <a:stCxn id="84" idx="4"/>
          </p:cNvCxnSpPr>
          <p:nvPr>
            <p:custDataLst>
              <p:tags r:id="rId60"/>
            </p:custDataLst>
          </p:nvPr>
        </p:nvCxnSpPr>
        <p:spPr bwMode="auto">
          <a:xfrm>
            <a:off x="2535119" y="3106067"/>
            <a:ext cx="5197" cy="45645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3" name="Oval 72"/>
          <p:cNvSpPr/>
          <p:nvPr>
            <p:custDataLst>
              <p:tags r:id="rId61"/>
            </p:custDataLst>
          </p:nvPr>
        </p:nvSpPr>
        <p:spPr bwMode="auto">
          <a:xfrm>
            <a:off x="2778299" y="2925576"/>
            <a:ext cx="134168" cy="201489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th-TH" sz="1200" b="1" dirty="0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pic>
        <p:nvPicPr>
          <p:cNvPr id="74" name="Picture 4" descr="http://i207.photobucket.com/albums/bb271/nitinarth/DSCF9161.jpg"/>
          <p:cNvPicPr>
            <a:picLocks noChangeAspect="1" noChangeArrowheads="1"/>
          </p:cNvPicPr>
          <p:nvPr>
            <p:custDataLst>
              <p:tags r:id="rId62"/>
            </p:custDataLst>
          </p:nvPr>
        </p:nvPicPr>
        <p:blipFill rotWithShape="1">
          <a:blip r:embed="rId1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69" t="24448" r="35032" b="22667"/>
          <a:stretch/>
        </p:blipFill>
        <p:spPr bwMode="auto">
          <a:xfrm>
            <a:off x="3002414" y="3672435"/>
            <a:ext cx="560319" cy="539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5" name="Elbow Connector 74"/>
          <p:cNvCxnSpPr>
            <a:stCxn id="83" idx="4"/>
            <a:endCxn id="74" idx="0"/>
          </p:cNvCxnSpPr>
          <p:nvPr>
            <p:custDataLst>
              <p:tags r:id="rId63"/>
            </p:custDataLst>
          </p:nvPr>
        </p:nvCxnSpPr>
        <p:spPr bwMode="auto">
          <a:xfrm rot="5400000">
            <a:off x="3135644" y="3273996"/>
            <a:ext cx="545369" cy="25150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6" name="Elbow Connector 75"/>
          <p:cNvCxnSpPr>
            <a:stCxn id="82" idx="4"/>
            <a:endCxn id="74" idx="0"/>
          </p:cNvCxnSpPr>
          <p:nvPr>
            <p:custDataLst>
              <p:tags r:id="rId64"/>
            </p:custDataLst>
          </p:nvPr>
        </p:nvCxnSpPr>
        <p:spPr bwMode="auto">
          <a:xfrm rot="16200000" flipH="1">
            <a:off x="2867747" y="3257607"/>
            <a:ext cx="545369" cy="28428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77" name="Picture 7" descr="http://i766.photobucket.com/albums/xx307/Kendo_4555/Makkasan/IMG_3062.jpg"/>
          <p:cNvPicPr>
            <a:picLocks noChangeAspect="1" noChangeArrowheads="1"/>
          </p:cNvPicPr>
          <p:nvPr>
            <p:custDataLst>
              <p:tags r:id="rId65"/>
            </p:custDataLst>
          </p:nvPr>
        </p:nvPicPr>
        <p:blipFill>
          <a:blip r:embed="rId1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5916" y="3670156"/>
            <a:ext cx="617970" cy="507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8" name="Straight Arrow Connector 77"/>
          <p:cNvCxnSpPr>
            <a:stCxn id="97" idx="2"/>
            <a:endCxn id="77" idx="0"/>
          </p:cNvCxnSpPr>
          <p:nvPr>
            <p:custDataLst>
              <p:tags r:id="rId66"/>
            </p:custDataLst>
          </p:nvPr>
        </p:nvCxnSpPr>
        <p:spPr bwMode="auto">
          <a:xfrm flipH="1">
            <a:off x="4184901" y="3089966"/>
            <a:ext cx="4156" cy="58019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79" name="Picture 51" descr="http://icons.iconarchive.com/icons/visualpharm/hardware/256/server-icon.png"/>
          <p:cNvPicPr>
            <a:picLocks noChangeAspect="1" noChangeArrowheads="1"/>
          </p:cNvPicPr>
          <p:nvPr>
            <p:custDataLst>
              <p:tags r:id="rId67"/>
            </p:custDataLst>
          </p:nvPr>
        </p:nvPicPr>
        <p:blipFill>
          <a:blip r:embed="rId1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536" y="4586499"/>
            <a:ext cx="329008" cy="449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51" descr="http://icons.iconarchive.com/icons/visualpharm/hardware/256/server-icon.png"/>
          <p:cNvPicPr>
            <a:picLocks noChangeAspect="1" noChangeArrowheads="1"/>
          </p:cNvPicPr>
          <p:nvPr>
            <p:custDataLst>
              <p:tags r:id="rId68"/>
            </p:custDataLst>
          </p:nvPr>
        </p:nvPicPr>
        <p:blipFill>
          <a:blip r:embed="rId1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119" y="4586499"/>
            <a:ext cx="329008" cy="449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51" descr="http://icons.iconarchive.com/icons/visualpharm/hardware/256/server-icon.png"/>
          <p:cNvPicPr>
            <a:picLocks noChangeAspect="1" noChangeArrowheads="1"/>
          </p:cNvPicPr>
          <p:nvPr>
            <p:custDataLst>
              <p:tags r:id="rId69"/>
            </p:custDataLst>
          </p:nvPr>
        </p:nvPicPr>
        <p:blipFill>
          <a:blip r:embed="rId1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2700" y="4586499"/>
            <a:ext cx="329008" cy="449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Oval 81"/>
          <p:cNvSpPr/>
          <p:nvPr>
            <p:custDataLst>
              <p:tags r:id="rId70"/>
            </p:custDataLst>
          </p:nvPr>
        </p:nvSpPr>
        <p:spPr bwMode="auto">
          <a:xfrm>
            <a:off x="2931204" y="2925576"/>
            <a:ext cx="134168" cy="201489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th-TH" sz="1200" b="1" dirty="0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83" name="Oval 82"/>
          <p:cNvSpPr/>
          <p:nvPr>
            <p:custDataLst>
              <p:tags r:id="rId71"/>
            </p:custDataLst>
          </p:nvPr>
        </p:nvSpPr>
        <p:spPr bwMode="auto">
          <a:xfrm>
            <a:off x="3466997" y="2925576"/>
            <a:ext cx="134168" cy="201489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th-TH" sz="1200" b="1" dirty="0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sp>
        <p:nvSpPr>
          <p:cNvPr id="84" name="Oval 83"/>
          <p:cNvSpPr/>
          <p:nvPr>
            <p:custDataLst>
              <p:tags r:id="rId72"/>
            </p:custDataLst>
          </p:nvPr>
        </p:nvSpPr>
        <p:spPr bwMode="auto">
          <a:xfrm>
            <a:off x="2468039" y="2922896"/>
            <a:ext cx="134168" cy="183172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th-TH" sz="1200" b="1" dirty="0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cxnSp>
        <p:nvCxnSpPr>
          <p:cNvPr id="85" name="Straight Arrow Connector 84"/>
          <p:cNvCxnSpPr>
            <a:endCxn id="79" idx="0"/>
          </p:cNvCxnSpPr>
          <p:nvPr>
            <p:custDataLst>
              <p:tags r:id="rId73"/>
            </p:custDataLst>
          </p:nvPr>
        </p:nvCxnSpPr>
        <p:spPr bwMode="auto">
          <a:xfrm flipH="1">
            <a:off x="2540040" y="4200045"/>
            <a:ext cx="280" cy="38645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6" name="Straight Arrow Connector 85"/>
          <p:cNvCxnSpPr/>
          <p:nvPr>
            <p:custDataLst>
              <p:tags r:id="rId74"/>
            </p:custDataLst>
          </p:nvPr>
        </p:nvCxnSpPr>
        <p:spPr bwMode="auto">
          <a:xfrm flipH="1">
            <a:off x="3282578" y="4200045"/>
            <a:ext cx="280" cy="38645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7" name="Straight Arrow Connector 86"/>
          <p:cNvCxnSpPr/>
          <p:nvPr>
            <p:custDataLst>
              <p:tags r:id="rId75"/>
            </p:custDataLst>
          </p:nvPr>
        </p:nvCxnSpPr>
        <p:spPr bwMode="auto">
          <a:xfrm flipH="1">
            <a:off x="4186702" y="4200045"/>
            <a:ext cx="280" cy="38645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8" name="Rectangle 87"/>
          <p:cNvSpPr/>
          <p:nvPr>
            <p:custDataLst>
              <p:tags r:id="rId76"/>
            </p:custDataLst>
          </p:nvPr>
        </p:nvSpPr>
        <p:spPr bwMode="auto">
          <a:xfrm>
            <a:off x="1399016" y="1212416"/>
            <a:ext cx="3103202" cy="484617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th-TH" sz="1200" b="1" dirty="0">
              <a:solidFill>
                <a:prstClr val="black"/>
              </a:solidFill>
              <a:latin typeface="Cordia New"/>
              <a:cs typeface="Cordia New"/>
              <a:sym typeface="Cordia New"/>
            </a:endParaRPr>
          </a:p>
        </p:txBody>
      </p:sp>
      <p:pic>
        <p:nvPicPr>
          <p:cNvPr id="89" name="Picture 10" descr="http://t0.gstatic.com/images?q=tbn:ANd9GcTt7pj7zu2GW6l9rfcQpi2e6d-1ACbFOkD6tcThmXjV-qXP3t5IhA&amp;t=1"/>
          <p:cNvPicPr>
            <a:picLocks noChangeAspect="1" noChangeArrowheads="1"/>
          </p:cNvPicPr>
          <p:nvPr>
            <p:custDataLst>
              <p:tags r:id="rId77"/>
            </p:custDataLst>
          </p:nvPr>
        </p:nvPicPr>
        <p:blipFill>
          <a:blip r:embed="rId1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623" y="1906461"/>
            <a:ext cx="373217" cy="3368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27" descr="http://www.thaieasypass.com/etcsite/images/etcimages/09.jpg"/>
          <p:cNvPicPr>
            <a:picLocks noChangeAspect="1" noChangeArrowheads="1"/>
          </p:cNvPicPr>
          <p:nvPr>
            <p:custDataLst>
              <p:tags r:id="rId78"/>
            </p:custDataLst>
          </p:nvPr>
        </p:nvPicPr>
        <p:blipFill>
          <a:blip r:embed="rId1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0330" y="2718044"/>
            <a:ext cx="400788" cy="344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1" name="Straight Arrow Connector 90"/>
          <p:cNvCxnSpPr>
            <a:stCxn id="89" idx="2"/>
            <a:endCxn id="90" idx="0"/>
          </p:cNvCxnSpPr>
          <p:nvPr>
            <p:custDataLst>
              <p:tags r:id="rId79"/>
            </p:custDataLst>
          </p:nvPr>
        </p:nvCxnSpPr>
        <p:spPr bwMode="auto">
          <a:xfrm>
            <a:off x="1766232" y="2243275"/>
            <a:ext cx="4492" cy="47476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92" name="Picture 8"/>
          <p:cNvPicPr>
            <a:picLocks noChangeAspect="1" noChangeArrowheads="1"/>
          </p:cNvPicPr>
          <p:nvPr>
            <p:custDataLst>
              <p:tags r:id="rId80"/>
            </p:custDataLst>
          </p:nvPr>
        </p:nvPicPr>
        <p:blipFill rotWithShape="1">
          <a:blip r:embed="rId1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83" t="9561" r="45497" b="14808"/>
          <a:stretch/>
        </p:blipFill>
        <p:spPr bwMode="auto">
          <a:xfrm>
            <a:off x="1549284" y="3631657"/>
            <a:ext cx="438169" cy="655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93" name="Straight Arrow Connector 92"/>
          <p:cNvCxnSpPr>
            <a:stCxn id="90" idx="2"/>
            <a:endCxn id="92" idx="0"/>
          </p:cNvCxnSpPr>
          <p:nvPr>
            <p:custDataLst>
              <p:tags r:id="rId81"/>
            </p:custDataLst>
          </p:nvPr>
        </p:nvCxnSpPr>
        <p:spPr bwMode="auto">
          <a:xfrm flipH="1">
            <a:off x="1768369" y="3062882"/>
            <a:ext cx="2355" cy="56877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94" name="Picture 51" descr="http://icons.iconarchive.com/icons/visualpharm/hardware/256/server-icon.png"/>
          <p:cNvPicPr>
            <a:picLocks noChangeAspect="1" noChangeArrowheads="1"/>
          </p:cNvPicPr>
          <p:nvPr>
            <p:custDataLst>
              <p:tags r:id="rId82"/>
            </p:custDataLst>
          </p:nvPr>
        </p:nvPicPr>
        <p:blipFill>
          <a:blip r:embed="rId1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4991" y="4568642"/>
            <a:ext cx="329008" cy="449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5" name="Straight Arrow Connector 94"/>
          <p:cNvCxnSpPr>
            <a:stCxn id="92" idx="2"/>
            <a:endCxn id="94" idx="0"/>
          </p:cNvCxnSpPr>
          <p:nvPr>
            <p:custDataLst>
              <p:tags r:id="rId83"/>
            </p:custDataLst>
          </p:nvPr>
        </p:nvCxnSpPr>
        <p:spPr bwMode="auto">
          <a:xfrm>
            <a:off x="1768369" y="4286773"/>
            <a:ext cx="1121" cy="28186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96" name="Picture 2" descr="http://a0.twimg.com/profile_images/853154558/Official_Logo_bts.JPG"/>
          <p:cNvPicPr>
            <a:picLocks noChangeAspect="1" noChangeArrowheads="1"/>
          </p:cNvPicPr>
          <p:nvPr>
            <p:custDataLst>
              <p:tags r:id="rId84"/>
            </p:custDataLst>
          </p:nvPr>
        </p:nvPicPr>
        <p:blipFill>
          <a:blip r:embed="rId1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0490" y="1911718"/>
            <a:ext cx="324683" cy="397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10" descr="http://www.logisticstime.net/images/detail/0de863ed.jpg"/>
          <p:cNvPicPr>
            <a:picLocks noChangeAspect="1" noChangeArrowheads="1"/>
          </p:cNvPicPr>
          <p:nvPr>
            <p:custDataLst>
              <p:tags r:id="rId85"/>
            </p:custDataLst>
          </p:nvPr>
        </p:nvPicPr>
        <p:blipFill>
          <a:blip r:embed="rId1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9663" y="2726677"/>
            <a:ext cx="418787" cy="363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8" name="Straight Connector 32"/>
          <p:cNvCxnSpPr>
            <a:endCxn id="29" idx="0"/>
          </p:cNvCxnSpPr>
          <p:nvPr>
            <p:custDataLst>
              <p:tags r:id="rId86"/>
            </p:custDataLst>
          </p:nvPr>
        </p:nvCxnSpPr>
        <p:spPr bwMode="auto">
          <a:xfrm flipH="1">
            <a:off x="5149221" y="3127074"/>
            <a:ext cx="2432108" cy="3887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Straight Connector 32"/>
          <p:cNvCxnSpPr>
            <a:stCxn id="38" idx="0"/>
            <a:endCxn id="29" idx="3"/>
          </p:cNvCxnSpPr>
          <p:nvPr>
            <p:custDataLst>
              <p:tags r:id="rId87"/>
            </p:custDataLst>
          </p:nvPr>
        </p:nvCxnSpPr>
        <p:spPr bwMode="auto">
          <a:xfrm flipH="1" flipV="1">
            <a:off x="5506101" y="3422248"/>
            <a:ext cx="1840186" cy="33208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0" name="Straight Connector 32"/>
          <p:cNvCxnSpPr>
            <a:stCxn id="51" idx="2"/>
            <a:endCxn id="29" idx="0"/>
          </p:cNvCxnSpPr>
          <p:nvPr/>
        </p:nvCxnSpPr>
        <p:spPr bwMode="auto">
          <a:xfrm>
            <a:off x="3356242" y="2205122"/>
            <a:ext cx="1792979" cy="96082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1" name="Straight Connector 32"/>
          <p:cNvCxnSpPr>
            <a:stCxn id="52" idx="2"/>
            <a:endCxn id="29" idx="0"/>
          </p:cNvCxnSpPr>
          <p:nvPr/>
        </p:nvCxnSpPr>
        <p:spPr bwMode="auto">
          <a:xfrm>
            <a:off x="2147331" y="2348880"/>
            <a:ext cx="3001890" cy="81706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32"/>
          <p:cNvCxnSpPr>
            <a:endCxn id="29" idx="0"/>
          </p:cNvCxnSpPr>
          <p:nvPr/>
        </p:nvCxnSpPr>
        <p:spPr bwMode="auto">
          <a:xfrm>
            <a:off x="1770724" y="2374941"/>
            <a:ext cx="3378497" cy="79100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103" name="Picture 213" descr="http://static.tlcdn3.com/data/11/pictures/0213/02-15-2013/p17je419ul3e9197dv3gq271q5.png"/>
          <p:cNvPicPr>
            <a:picLocks noChangeAspect="1" noChangeArrowheads="1"/>
          </p:cNvPicPr>
          <p:nvPr>
            <p:custDataLst>
              <p:tags r:id="rId88"/>
            </p:custDataLst>
          </p:nvPr>
        </p:nvPicPr>
        <p:blipFill>
          <a:blip r:embed="rId1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829" y="2254337"/>
            <a:ext cx="334624" cy="29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" name="Rectangle 103"/>
          <p:cNvSpPr/>
          <p:nvPr>
            <p:custDataLst>
              <p:tags r:id="rId89"/>
            </p:custDataLst>
          </p:nvPr>
        </p:nvSpPr>
        <p:spPr bwMode="auto">
          <a:xfrm>
            <a:off x="5776008" y="2555682"/>
            <a:ext cx="295200" cy="396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921687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5516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07" name="think-cell Slide" r:id="rId263" imgW="360" imgH="360" progId="">
                  <p:embed/>
                </p:oleObj>
              </mc:Choice>
              <mc:Fallback>
                <p:oleObj name="think-cell Slide" r:id="rId263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9" name="Rounded Rectangle 368"/>
          <p:cNvSpPr/>
          <p:nvPr>
            <p:custDataLst>
              <p:tags r:id="rId3"/>
            </p:custDataLst>
          </p:nvPr>
        </p:nvSpPr>
        <p:spPr bwMode="auto">
          <a:xfrm>
            <a:off x="2163544" y="1333148"/>
            <a:ext cx="762199" cy="395587"/>
          </a:xfrm>
          <a:prstGeom prst="roundRect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78" name="Rectangle 377"/>
          <p:cNvSpPr/>
          <p:nvPr>
            <p:custDataLst>
              <p:tags r:id="rId4"/>
            </p:custDataLst>
          </p:nvPr>
        </p:nvSpPr>
        <p:spPr bwMode="auto">
          <a:xfrm>
            <a:off x="35496" y="4835421"/>
            <a:ext cx="9026847" cy="867141"/>
          </a:xfrm>
          <a:prstGeom prst="rect">
            <a:avLst/>
          </a:prstGeom>
          <a:solidFill>
            <a:schemeClr val="accent1">
              <a:lumMod val="10000"/>
              <a:lumOff val="90000"/>
              <a:alpha val="41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</a:pPr>
            <a:endParaRPr lang="th-TH" sz="1600" b="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44" name="Rounded Rectangle 343"/>
          <p:cNvSpPr/>
          <p:nvPr>
            <p:custDataLst>
              <p:tags r:id="rId5"/>
            </p:custDataLst>
          </p:nvPr>
        </p:nvSpPr>
        <p:spPr bwMode="auto">
          <a:xfrm>
            <a:off x="5310106" y="5180052"/>
            <a:ext cx="152146" cy="175399"/>
          </a:xfrm>
          <a:prstGeom prst="roundRect">
            <a:avLst/>
          </a:prstGeom>
          <a:solidFill>
            <a:srgbClr val="96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47" name="Rounded Rectangle 346"/>
          <p:cNvSpPr/>
          <p:nvPr>
            <p:custDataLst>
              <p:tags r:id="rId6"/>
            </p:custDataLst>
          </p:nvPr>
        </p:nvSpPr>
        <p:spPr bwMode="auto">
          <a:xfrm>
            <a:off x="5140444" y="5180052"/>
            <a:ext cx="152146" cy="175399"/>
          </a:xfrm>
          <a:prstGeom prst="roundRect">
            <a:avLst/>
          </a:prstGeom>
          <a:solidFill>
            <a:srgbClr val="96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48" name="Rounded Rectangle 347"/>
          <p:cNvSpPr/>
          <p:nvPr>
            <p:custDataLst>
              <p:tags r:id="rId7"/>
            </p:custDataLst>
          </p:nvPr>
        </p:nvSpPr>
        <p:spPr bwMode="auto">
          <a:xfrm>
            <a:off x="5657900" y="5180052"/>
            <a:ext cx="152146" cy="175399"/>
          </a:xfrm>
          <a:prstGeom prst="roundRect">
            <a:avLst/>
          </a:prstGeom>
          <a:solidFill>
            <a:srgbClr val="96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49" name="Rounded Rectangle 348"/>
          <p:cNvSpPr/>
          <p:nvPr>
            <p:custDataLst>
              <p:tags r:id="rId8"/>
            </p:custDataLst>
          </p:nvPr>
        </p:nvSpPr>
        <p:spPr bwMode="auto">
          <a:xfrm>
            <a:off x="5488240" y="5180052"/>
            <a:ext cx="152146" cy="175399"/>
          </a:xfrm>
          <a:prstGeom prst="roundRect">
            <a:avLst/>
          </a:prstGeom>
          <a:solidFill>
            <a:srgbClr val="96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42" name="Rounded Rectangle 341"/>
          <p:cNvSpPr/>
          <p:nvPr>
            <p:custDataLst>
              <p:tags r:id="rId9"/>
            </p:custDataLst>
          </p:nvPr>
        </p:nvSpPr>
        <p:spPr bwMode="auto">
          <a:xfrm>
            <a:off x="5148064" y="4445347"/>
            <a:ext cx="321807" cy="272177"/>
          </a:xfrm>
          <a:prstGeom prst="roundRect">
            <a:avLst/>
          </a:prstGeom>
          <a:solidFill>
            <a:srgbClr val="96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endParaRPr lang="th-TH" sz="11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43" name="Rounded Rectangle 342"/>
          <p:cNvSpPr/>
          <p:nvPr>
            <p:custDataLst>
              <p:tags r:id="rId10"/>
            </p:custDataLst>
          </p:nvPr>
        </p:nvSpPr>
        <p:spPr bwMode="auto">
          <a:xfrm>
            <a:off x="5495860" y="4445347"/>
            <a:ext cx="321807" cy="272177"/>
          </a:xfrm>
          <a:prstGeom prst="roundRect">
            <a:avLst/>
          </a:prstGeom>
          <a:solidFill>
            <a:srgbClr val="96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endParaRPr lang="th-TH" sz="11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41" name="Rounded Rectangle 340"/>
          <p:cNvSpPr/>
          <p:nvPr>
            <p:custDataLst>
              <p:tags r:id="rId11"/>
            </p:custDataLst>
          </p:nvPr>
        </p:nvSpPr>
        <p:spPr bwMode="auto">
          <a:xfrm>
            <a:off x="5988659" y="5154028"/>
            <a:ext cx="167517" cy="147180"/>
          </a:xfrm>
          <a:prstGeom prst="roundRect">
            <a:avLst/>
          </a:prstGeom>
          <a:solidFill>
            <a:srgbClr val="00FA7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40" name="Rounded Rectangle 339"/>
          <p:cNvSpPr/>
          <p:nvPr>
            <p:custDataLst>
              <p:tags r:id="rId12"/>
            </p:custDataLst>
          </p:nvPr>
        </p:nvSpPr>
        <p:spPr bwMode="auto">
          <a:xfrm>
            <a:off x="6132675" y="5149265"/>
            <a:ext cx="167517" cy="147180"/>
          </a:xfrm>
          <a:prstGeom prst="roundRect">
            <a:avLst/>
          </a:prstGeom>
          <a:solidFill>
            <a:srgbClr val="00FA7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38" name="Rounded Rectangle 337"/>
          <p:cNvSpPr/>
          <p:nvPr>
            <p:custDataLst>
              <p:tags r:id="rId13"/>
            </p:custDataLst>
          </p:nvPr>
        </p:nvSpPr>
        <p:spPr bwMode="auto">
          <a:xfrm>
            <a:off x="6309718" y="5144502"/>
            <a:ext cx="167517" cy="147180"/>
          </a:xfrm>
          <a:prstGeom prst="roundRect">
            <a:avLst/>
          </a:prstGeom>
          <a:solidFill>
            <a:srgbClr val="00FA7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37" name="Rounded Rectangle 336"/>
          <p:cNvSpPr/>
          <p:nvPr>
            <p:custDataLst>
              <p:tags r:id="rId14"/>
            </p:custDataLst>
          </p:nvPr>
        </p:nvSpPr>
        <p:spPr bwMode="auto">
          <a:xfrm>
            <a:off x="6520979" y="5139739"/>
            <a:ext cx="167517" cy="147180"/>
          </a:xfrm>
          <a:prstGeom prst="roundRect">
            <a:avLst/>
          </a:prstGeom>
          <a:solidFill>
            <a:srgbClr val="00FA7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30" name="Rounded Rectangle 329"/>
          <p:cNvSpPr/>
          <p:nvPr>
            <p:custDataLst>
              <p:tags r:id="rId15"/>
            </p:custDataLst>
          </p:nvPr>
        </p:nvSpPr>
        <p:spPr bwMode="auto">
          <a:xfrm>
            <a:off x="6012723" y="4366322"/>
            <a:ext cx="326445" cy="286814"/>
          </a:xfrm>
          <a:prstGeom prst="roundRect">
            <a:avLst/>
          </a:prstGeom>
          <a:solidFill>
            <a:srgbClr val="00FA7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92" name="Rounded Rectangle 291"/>
          <p:cNvSpPr/>
          <p:nvPr>
            <p:custDataLst>
              <p:tags r:id="rId16"/>
            </p:custDataLst>
          </p:nvPr>
        </p:nvSpPr>
        <p:spPr bwMode="auto">
          <a:xfrm>
            <a:off x="6375997" y="4366322"/>
            <a:ext cx="326445" cy="286814"/>
          </a:xfrm>
          <a:prstGeom prst="roundRect">
            <a:avLst/>
          </a:prstGeom>
          <a:solidFill>
            <a:srgbClr val="00FA7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75" name="Rectangle 274"/>
          <p:cNvSpPr/>
          <p:nvPr>
            <p:custDataLst>
              <p:tags r:id="rId17"/>
            </p:custDataLst>
          </p:nvPr>
        </p:nvSpPr>
        <p:spPr bwMode="auto">
          <a:xfrm>
            <a:off x="6228184" y="3646242"/>
            <a:ext cx="394998" cy="286814"/>
          </a:xfrm>
          <a:prstGeom prst="rect">
            <a:avLst/>
          </a:prstGeom>
          <a:solidFill>
            <a:srgbClr val="00FA7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92" name="Rectangle 491"/>
          <p:cNvSpPr/>
          <p:nvPr>
            <p:custDataLst>
              <p:tags r:id="rId18"/>
            </p:custDataLst>
          </p:nvPr>
        </p:nvSpPr>
        <p:spPr bwMode="auto">
          <a:xfrm>
            <a:off x="35496" y="1955239"/>
            <a:ext cx="9026847" cy="788310"/>
          </a:xfrm>
          <a:prstGeom prst="rect">
            <a:avLst/>
          </a:prstGeom>
          <a:solidFill>
            <a:schemeClr val="accent1">
              <a:lumMod val="10000"/>
              <a:lumOff val="90000"/>
              <a:alpha val="41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</a:pPr>
            <a:endParaRPr lang="th-TH" sz="1600" b="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th-TH" sz="2400" dirty="0" smtClean="0">
                <a:latin typeface="Cordia New" pitchFamily="34" charset="-34"/>
                <a:cs typeface="Cordia New" pitchFamily="34" charset="-34"/>
              </a:rPr>
              <a:t>แนวคิดในการพัฒนาระบบตั๋วร่วม</a:t>
            </a:r>
            <a:endParaRPr lang="en-US" sz="2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20"/>
            </p:custDataLst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382" name="Rectangle 381"/>
          <p:cNvSpPr/>
          <p:nvPr>
            <p:custDataLst>
              <p:tags r:id="rId21"/>
            </p:custDataLst>
          </p:nvPr>
        </p:nvSpPr>
        <p:spPr bwMode="auto">
          <a:xfrm>
            <a:off x="35496" y="3533108"/>
            <a:ext cx="9026847" cy="788310"/>
          </a:xfrm>
          <a:prstGeom prst="rect">
            <a:avLst/>
          </a:prstGeom>
          <a:solidFill>
            <a:schemeClr val="accent1">
              <a:lumMod val="10000"/>
              <a:lumOff val="90000"/>
              <a:alpha val="41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</a:pPr>
            <a:endParaRPr lang="th-TH" sz="1600" b="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05" name="Rounded Rectangle 304"/>
          <p:cNvSpPr/>
          <p:nvPr>
            <p:custDataLst>
              <p:tags r:id="rId22"/>
            </p:custDataLst>
          </p:nvPr>
        </p:nvSpPr>
        <p:spPr bwMode="auto">
          <a:xfrm>
            <a:off x="2930393" y="4452135"/>
            <a:ext cx="321807" cy="27217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EXAT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06" name="Rounded Rectangle 305"/>
          <p:cNvSpPr/>
          <p:nvPr>
            <p:custDataLst>
              <p:tags r:id="rId23"/>
            </p:custDataLst>
          </p:nvPr>
        </p:nvSpPr>
        <p:spPr bwMode="auto">
          <a:xfrm>
            <a:off x="3288538" y="4452135"/>
            <a:ext cx="321807" cy="272177"/>
          </a:xfrm>
          <a:prstGeom prst="roundRect">
            <a:avLst/>
          </a:prstGeom>
          <a:solidFill>
            <a:srgbClr val="7030A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EXAT</a:t>
            </a:r>
            <a:endParaRPr lang="th-TH" sz="11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07" name="Rounded Rectangle 306"/>
          <p:cNvSpPr/>
          <p:nvPr>
            <p:custDataLst>
              <p:tags r:id="rId24"/>
            </p:custDataLst>
          </p:nvPr>
        </p:nvSpPr>
        <p:spPr bwMode="auto">
          <a:xfrm>
            <a:off x="2531244" y="4452135"/>
            <a:ext cx="321807" cy="272177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latin typeface="Cordia New" pitchFamily="34" charset="-34"/>
                <a:cs typeface="Cordia New" pitchFamily="34" charset="-34"/>
              </a:rPr>
              <a:t>EXAT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12" name="Rounded Rectangle 211"/>
          <p:cNvSpPr/>
          <p:nvPr>
            <p:custDataLst>
              <p:tags r:id="rId25"/>
            </p:custDataLst>
          </p:nvPr>
        </p:nvSpPr>
        <p:spPr bwMode="auto">
          <a:xfrm>
            <a:off x="6301364" y="5169131"/>
            <a:ext cx="165138" cy="185899"/>
          </a:xfrm>
          <a:prstGeom prst="roundRect">
            <a:avLst/>
          </a:prstGeom>
          <a:solidFill>
            <a:srgbClr val="FF99CC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05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13" name="Rounded Rectangle 212"/>
          <p:cNvSpPr/>
          <p:nvPr>
            <p:custDataLst>
              <p:tags r:id="rId26"/>
            </p:custDataLst>
          </p:nvPr>
        </p:nvSpPr>
        <p:spPr bwMode="auto">
          <a:xfrm>
            <a:off x="6113493" y="5169131"/>
            <a:ext cx="165138" cy="185899"/>
          </a:xfrm>
          <a:prstGeom prst="roundRect">
            <a:avLst/>
          </a:prstGeom>
          <a:solidFill>
            <a:srgbClr val="FF99CC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05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14" name="Rounded Rectangle 213"/>
          <p:cNvSpPr/>
          <p:nvPr>
            <p:custDataLst>
              <p:tags r:id="rId27"/>
            </p:custDataLst>
          </p:nvPr>
        </p:nvSpPr>
        <p:spPr bwMode="auto">
          <a:xfrm>
            <a:off x="5956695" y="5169131"/>
            <a:ext cx="165138" cy="185899"/>
          </a:xfrm>
          <a:prstGeom prst="roundRect">
            <a:avLst/>
          </a:prstGeom>
          <a:solidFill>
            <a:srgbClr val="FF99CC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05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11" name="Elbow Connector 210"/>
          <p:cNvCxnSpPr>
            <a:stCxn id="204" idx="2"/>
            <a:endCxn id="199" idx="0"/>
          </p:cNvCxnSpPr>
          <p:nvPr>
            <p:custDataLst>
              <p:tags r:id="rId28"/>
            </p:custDataLst>
          </p:nvPr>
        </p:nvCxnSpPr>
        <p:spPr bwMode="auto">
          <a:xfrm rot="16200000" flipH="1">
            <a:off x="6263673" y="4159610"/>
            <a:ext cx="359584" cy="123406"/>
          </a:xfrm>
          <a:prstGeom prst="bentConnector3">
            <a:avLst/>
          </a:prstGeom>
          <a:solidFill>
            <a:srgbClr val="FFFF00"/>
          </a:solidFill>
          <a:ln w="635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02" name="Rounded Rectangle 201"/>
          <p:cNvSpPr/>
          <p:nvPr>
            <p:custDataLst>
              <p:tags r:id="rId29"/>
            </p:custDataLst>
          </p:nvPr>
        </p:nvSpPr>
        <p:spPr bwMode="auto">
          <a:xfrm>
            <a:off x="5990150" y="4401105"/>
            <a:ext cx="321807" cy="272177"/>
          </a:xfrm>
          <a:prstGeom prst="roundRect">
            <a:avLst/>
          </a:prstGeom>
          <a:solidFill>
            <a:srgbClr val="FF99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00" name="Rounded Rectangle 199"/>
          <p:cNvSpPr/>
          <p:nvPr>
            <p:custDataLst>
              <p:tags r:id="rId30"/>
            </p:custDataLst>
          </p:nvPr>
        </p:nvSpPr>
        <p:spPr bwMode="auto">
          <a:xfrm>
            <a:off x="6496301" y="5159529"/>
            <a:ext cx="165138" cy="185899"/>
          </a:xfrm>
          <a:prstGeom prst="roundRect">
            <a:avLst/>
          </a:prstGeom>
          <a:solidFill>
            <a:srgbClr val="FF99CC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05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9" name="Rounded Rectangle 198"/>
          <p:cNvSpPr/>
          <p:nvPr>
            <p:custDataLst>
              <p:tags r:id="rId31"/>
            </p:custDataLst>
          </p:nvPr>
        </p:nvSpPr>
        <p:spPr bwMode="auto">
          <a:xfrm>
            <a:off x="6344264" y="4401105"/>
            <a:ext cx="321807" cy="272177"/>
          </a:xfrm>
          <a:prstGeom prst="roundRect">
            <a:avLst/>
          </a:prstGeom>
          <a:solidFill>
            <a:srgbClr val="FF99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78" name="Rounded Rectangle 177"/>
          <p:cNvSpPr/>
          <p:nvPr>
            <p:custDataLst>
              <p:tags r:id="rId32"/>
            </p:custDataLst>
          </p:nvPr>
        </p:nvSpPr>
        <p:spPr bwMode="auto">
          <a:xfrm>
            <a:off x="5960522" y="4430098"/>
            <a:ext cx="321807" cy="272177"/>
          </a:xfrm>
          <a:prstGeom prst="round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S1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79" name="Rounded Rectangle 178"/>
          <p:cNvSpPr/>
          <p:nvPr>
            <p:custDataLst>
              <p:tags r:id="rId33"/>
            </p:custDataLst>
          </p:nvPr>
        </p:nvSpPr>
        <p:spPr bwMode="auto">
          <a:xfrm>
            <a:off x="6096499" y="5197801"/>
            <a:ext cx="152146" cy="175399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latin typeface="Cordia New" pitchFamily="34" charset="-34"/>
                <a:cs typeface="Cordia New" pitchFamily="34" charset="-34"/>
              </a:rPr>
              <a:t>R2</a:t>
            </a:r>
            <a:endParaRPr lang="th-TH" sz="105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80" name="Rounded Rectangle 179"/>
          <p:cNvSpPr/>
          <p:nvPr>
            <p:custDataLst>
              <p:tags r:id="rId34"/>
            </p:custDataLst>
          </p:nvPr>
        </p:nvSpPr>
        <p:spPr bwMode="auto">
          <a:xfrm>
            <a:off x="5953579" y="5197801"/>
            <a:ext cx="152146" cy="175399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latin typeface="Cordia New" pitchFamily="34" charset="-34"/>
                <a:cs typeface="Cordia New" pitchFamily="34" charset="-34"/>
              </a:rPr>
              <a:t>R1</a:t>
            </a:r>
            <a:endParaRPr lang="th-TH" sz="105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83" name="Rounded Rectangle 182"/>
          <p:cNvSpPr/>
          <p:nvPr>
            <p:custDataLst>
              <p:tags r:id="rId35"/>
            </p:custDataLst>
          </p:nvPr>
        </p:nvSpPr>
        <p:spPr bwMode="auto">
          <a:xfrm>
            <a:off x="6319493" y="4436072"/>
            <a:ext cx="321807" cy="272177"/>
          </a:xfrm>
          <a:prstGeom prst="round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84" name="Rounded Rectangle 183"/>
          <p:cNvSpPr/>
          <p:nvPr>
            <p:custDataLst>
              <p:tags r:id="rId36"/>
            </p:custDataLst>
          </p:nvPr>
        </p:nvSpPr>
        <p:spPr bwMode="auto">
          <a:xfrm>
            <a:off x="6471036" y="5192679"/>
            <a:ext cx="152146" cy="175399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105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85" name="Rounded Rectangle 184"/>
          <p:cNvSpPr/>
          <p:nvPr>
            <p:custDataLst>
              <p:tags r:id="rId37"/>
            </p:custDataLst>
          </p:nvPr>
        </p:nvSpPr>
        <p:spPr bwMode="auto">
          <a:xfrm>
            <a:off x="6292511" y="5197801"/>
            <a:ext cx="152146" cy="175399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latin typeface="Cordia New" pitchFamily="34" charset="-34"/>
                <a:cs typeface="Cordia New" pitchFamily="34" charset="-34"/>
              </a:rPr>
              <a:t>R1</a:t>
            </a:r>
            <a:endParaRPr lang="th-TH" sz="105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84" name="Rounded Rectangle 83"/>
          <p:cNvSpPr/>
          <p:nvPr>
            <p:custDataLst>
              <p:tags r:id="rId38"/>
            </p:custDataLst>
          </p:nvPr>
        </p:nvSpPr>
        <p:spPr bwMode="auto">
          <a:xfrm>
            <a:off x="5920480" y="4476381"/>
            <a:ext cx="321807" cy="272177"/>
          </a:xfrm>
          <a:prstGeom prst="roundRect">
            <a:avLst/>
          </a:prstGeom>
          <a:solidFill>
            <a:srgbClr val="F4540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S1</a:t>
            </a:r>
            <a:endParaRPr lang="th-TH" sz="11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85" name="Rounded Rectangle 84"/>
          <p:cNvSpPr/>
          <p:nvPr>
            <p:custDataLst>
              <p:tags r:id="rId39"/>
            </p:custDataLst>
          </p:nvPr>
        </p:nvSpPr>
        <p:spPr bwMode="auto">
          <a:xfrm>
            <a:off x="6079110" y="5234231"/>
            <a:ext cx="152146" cy="175399"/>
          </a:xfrm>
          <a:prstGeom prst="roundRect">
            <a:avLst/>
          </a:prstGeom>
          <a:solidFill>
            <a:srgbClr val="F4540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9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86" name="Rounded Rectangle 85"/>
          <p:cNvSpPr/>
          <p:nvPr>
            <p:custDataLst>
              <p:tags r:id="rId40"/>
            </p:custDataLst>
          </p:nvPr>
        </p:nvSpPr>
        <p:spPr bwMode="auto">
          <a:xfrm>
            <a:off x="5918393" y="5227867"/>
            <a:ext cx="152146" cy="175399"/>
          </a:xfrm>
          <a:prstGeom prst="roundRect">
            <a:avLst/>
          </a:prstGeom>
          <a:solidFill>
            <a:srgbClr val="F4540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9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89" name="Rounded Rectangle 88"/>
          <p:cNvSpPr/>
          <p:nvPr>
            <p:custDataLst>
              <p:tags r:id="rId41"/>
            </p:custDataLst>
          </p:nvPr>
        </p:nvSpPr>
        <p:spPr bwMode="auto">
          <a:xfrm>
            <a:off x="6276624" y="4476381"/>
            <a:ext cx="321807" cy="272177"/>
          </a:xfrm>
          <a:prstGeom prst="roundRect">
            <a:avLst/>
          </a:prstGeom>
          <a:solidFill>
            <a:srgbClr val="F4540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1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90" name="Rounded Rectangle 89"/>
          <p:cNvSpPr/>
          <p:nvPr>
            <p:custDataLst>
              <p:tags r:id="rId42"/>
            </p:custDataLst>
          </p:nvPr>
        </p:nvSpPr>
        <p:spPr bwMode="auto">
          <a:xfrm>
            <a:off x="6435007" y="5229962"/>
            <a:ext cx="152146" cy="175399"/>
          </a:xfrm>
          <a:prstGeom prst="roundRect">
            <a:avLst/>
          </a:prstGeom>
          <a:solidFill>
            <a:srgbClr val="F4540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9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91" name="Rounded Rectangle 90"/>
          <p:cNvSpPr/>
          <p:nvPr>
            <p:custDataLst>
              <p:tags r:id="rId43"/>
            </p:custDataLst>
          </p:nvPr>
        </p:nvSpPr>
        <p:spPr bwMode="auto">
          <a:xfrm>
            <a:off x="6252908" y="5232135"/>
            <a:ext cx="152146" cy="175399"/>
          </a:xfrm>
          <a:prstGeom prst="roundRect">
            <a:avLst/>
          </a:prstGeom>
          <a:solidFill>
            <a:srgbClr val="F4540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9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89" name="Rounded Rectangle 188"/>
          <p:cNvSpPr/>
          <p:nvPr>
            <p:custDataLst>
              <p:tags r:id="rId44"/>
            </p:custDataLst>
          </p:nvPr>
        </p:nvSpPr>
        <p:spPr bwMode="auto">
          <a:xfrm>
            <a:off x="5887930" y="4526898"/>
            <a:ext cx="321807" cy="272177"/>
          </a:xfrm>
          <a:prstGeom prst="roundRect">
            <a:avLst/>
          </a:prstGeom>
          <a:solidFill>
            <a:srgbClr val="6600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S1</a:t>
            </a:r>
            <a:endParaRPr lang="th-TH" sz="11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0" name="Rounded Rectangle 189"/>
          <p:cNvSpPr/>
          <p:nvPr>
            <p:custDataLst>
              <p:tags r:id="rId45"/>
            </p:custDataLst>
          </p:nvPr>
        </p:nvSpPr>
        <p:spPr bwMode="auto">
          <a:xfrm>
            <a:off x="6057590" y="5268993"/>
            <a:ext cx="152146" cy="175399"/>
          </a:xfrm>
          <a:prstGeom prst="roundRect">
            <a:avLst/>
          </a:prstGeom>
          <a:solidFill>
            <a:srgbClr val="6600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10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1" name="Rounded Rectangle 190"/>
          <p:cNvSpPr/>
          <p:nvPr>
            <p:custDataLst>
              <p:tags r:id="rId46"/>
            </p:custDataLst>
          </p:nvPr>
        </p:nvSpPr>
        <p:spPr bwMode="auto">
          <a:xfrm>
            <a:off x="5887930" y="5268993"/>
            <a:ext cx="152146" cy="175399"/>
          </a:xfrm>
          <a:prstGeom prst="roundRect">
            <a:avLst/>
          </a:prstGeom>
          <a:solidFill>
            <a:srgbClr val="6600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10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192" name="Elbow Connector 191"/>
          <p:cNvCxnSpPr>
            <a:stCxn id="191" idx="0"/>
            <a:endCxn id="189" idx="2"/>
          </p:cNvCxnSpPr>
          <p:nvPr>
            <p:custDataLst>
              <p:tags r:id="rId47"/>
            </p:custDataLst>
          </p:nvPr>
        </p:nvCxnSpPr>
        <p:spPr bwMode="auto">
          <a:xfrm rot="5400000" flipH="1" flipV="1">
            <a:off x="5771458" y="4991619"/>
            <a:ext cx="469917" cy="84831"/>
          </a:xfrm>
          <a:prstGeom prst="bentConnector3">
            <a:avLst/>
          </a:prstGeom>
          <a:solidFill>
            <a:srgbClr val="6600CC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3" name="Elbow Connector 192"/>
          <p:cNvCxnSpPr>
            <a:stCxn id="190" idx="0"/>
            <a:endCxn id="189" idx="2"/>
          </p:cNvCxnSpPr>
          <p:nvPr>
            <p:custDataLst>
              <p:tags r:id="rId48"/>
            </p:custDataLst>
          </p:nvPr>
        </p:nvCxnSpPr>
        <p:spPr bwMode="auto">
          <a:xfrm rot="16200000" flipV="1">
            <a:off x="5856290" y="4991618"/>
            <a:ext cx="469917" cy="84831"/>
          </a:xfrm>
          <a:prstGeom prst="bentConnector3">
            <a:avLst/>
          </a:prstGeom>
          <a:solidFill>
            <a:srgbClr val="6600CC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4" name="Rounded Rectangle 193"/>
          <p:cNvSpPr/>
          <p:nvPr>
            <p:custDataLst>
              <p:tags r:id="rId49"/>
            </p:custDataLst>
          </p:nvPr>
        </p:nvSpPr>
        <p:spPr bwMode="auto">
          <a:xfrm>
            <a:off x="6235725" y="4526898"/>
            <a:ext cx="321807" cy="272177"/>
          </a:xfrm>
          <a:prstGeom prst="roundRect">
            <a:avLst/>
          </a:prstGeom>
          <a:solidFill>
            <a:srgbClr val="6600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S2</a:t>
            </a:r>
            <a:endParaRPr lang="th-TH" sz="11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5" name="Rounded Rectangle 194"/>
          <p:cNvSpPr/>
          <p:nvPr>
            <p:custDataLst>
              <p:tags r:id="rId50"/>
            </p:custDataLst>
          </p:nvPr>
        </p:nvSpPr>
        <p:spPr bwMode="auto">
          <a:xfrm>
            <a:off x="6405386" y="5268993"/>
            <a:ext cx="152146" cy="175399"/>
          </a:xfrm>
          <a:prstGeom prst="roundRect">
            <a:avLst/>
          </a:prstGeom>
          <a:solidFill>
            <a:srgbClr val="6600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10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6" name="Rounded Rectangle 195"/>
          <p:cNvSpPr/>
          <p:nvPr>
            <p:custDataLst>
              <p:tags r:id="rId51"/>
            </p:custDataLst>
          </p:nvPr>
        </p:nvSpPr>
        <p:spPr bwMode="auto">
          <a:xfrm>
            <a:off x="6235725" y="5268993"/>
            <a:ext cx="152146" cy="175399"/>
          </a:xfrm>
          <a:prstGeom prst="roundRect">
            <a:avLst/>
          </a:prstGeom>
          <a:solidFill>
            <a:srgbClr val="6600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10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197" name="Elbow Connector 196"/>
          <p:cNvCxnSpPr>
            <a:stCxn id="196" idx="0"/>
            <a:endCxn id="194" idx="2"/>
          </p:cNvCxnSpPr>
          <p:nvPr>
            <p:custDataLst>
              <p:tags r:id="rId52"/>
            </p:custDataLst>
          </p:nvPr>
        </p:nvCxnSpPr>
        <p:spPr bwMode="auto">
          <a:xfrm rot="5400000" flipH="1" flipV="1">
            <a:off x="6119254" y="4991619"/>
            <a:ext cx="469917" cy="84831"/>
          </a:xfrm>
          <a:prstGeom prst="bentConnector3">
            <a:avLst/>
          </a:prstGeom>
          <a:solidFill>
            <a:srgbClr val="6600CC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8" name="Elbow Connector 197"/>
          <p:cNvCxnSpPr>
            <a:stCxn id="195" idx="0"/>
            <a:endCxn id="194" idx="2"/>
          </p:cNvCxnSpPr>
          <p:nvPr>
            <p:custDataLst>
              <p:tags r:id="rId53"/>
            </p:custDataLst>
          </p:nvPr>
        </p:nvCxnSpPr>
        <p:spPr bwMode="auto">
          <a:xfrm rot="16200000" flipV="1">
            <a:off x="6204085" y="4991618"/>
            <a:ext cx="469917" cy="84831"/>
          </a:xfrm>
          <a:prstGeom prst="bentConnector3">
            <a:avLst/>
          </a:prstGeom>
          <a:solidFill>
            <a:srgbClr val="6600CC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5" name="Elbow Connector 204"/>
          <p:cNvCxnSpPr>
            <a:stCxn id="189" idx="0"/>
            <a:endCxn id="122" idx="2"/>
          </p:cNvCxnSpPr>
          <p:nvPr>
            <p:custDataLst>
              <p:tags r:id="rId54"/>
            </p:custDataLst>
          </p:nvPr>
        </p:nvCxnSpPr>
        <p:spPr bwMode="auto">
          <a:xfrm rot="5400000" flipH="1" flipV="1">
            <a:off x="5956931" y="4245403"/>
            <a:ext cx="373397" cy="189595"/>
          </a:xfrm>
          <a:prstGeom prst="bentConnector3">
            <a:avLst/>
          </a:prstGeom>
          <a:solidFill>
            <a:srgbClr val="6600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206" name="Elbow Connector 205"/>
          <p:cNvCxnSpPr>
            <a:stCxn id="122" idx="2"/>
            <a:endCxn id="194" idx="0"/>
          </p:cNvCxnSpPr>
          <p:nvPr>
            <p:custDataLst>
              <p:tags r:id="rId55"/>
            </p:custDataLst>
          </p:nvPr>
        </p:nvCxnSpPr>
        <p:spPr bwMode="auto">
          <a:xfrm rot="16200000" flipH="1">
            <a:off x="6130830" y="4261098"/>
            <a:ext cx="373397" cy="158202"/>
          </a:xfrm>
          <a:prstGeom prst="bentConnector3">
            <a:avLst/>
          </a:prstGeom>
          <a:solidFill>
            <a:srgbClr val="6600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207" name="Elbow Connector 206"/>
          <p:cNvCxnSpPr>
            <a:stCxn id="120" idx="2"/>
            <a:endCxn id="89" idx="0"/>
          </p:cNvCxnSpPr>
          <p:nvPr>
            <p:custDataLst>
              <p:tags r:id="rId56"/>
            </p:custDataLst>
          </p:nvPr>
        </p:nvCxnSpPr>
        <p:spPr bwMode="auto">
          <a:xfrm rot="16200000" flipH="1">
            <a:off x="6176216" y="4215070"/>
            <a:ext cx="368459" cy="154161"/>
          </a:xfrm>
          <a:prstGeom prst="bentConnector3">
            <a:avLst/>
          </a:prstGeom>
          <a:solidFill>
            <a:srgbClr val="FFFF00"/>
          </a:solidFill>
          <a:ln w="635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8" name="Elbow Connector 207"/>
          <p:cNvCxnSpPr>
            <a:stCxn id="120" idx="2"/>
            <a:endCxn id="84" idx="0"/>
          </p:cNvCxnSpPr>
          <p:nvPr>
            <p:custDataLst>
              <p:tags r:id="rId57"/>
            </p:custDataLst>
          </p:nvPr>
        </p:nvCxnSpPr>
        <p:spPr bwMode="auto">
          <a:xfrm rot="5400000">
            <a:off x="5998144" y="4191161"/>
            <a:ext cx="368459" cy="201981"/>
          </a:xfrm>
          <a:prstGeom prst="bentConnector3">
            <a:avLst/>
          </a:prstGeom>
          <a:solidFill>
            <a:srgbClr val="FFFF00"/>
          </a:solidFill>
          <a:ln w="635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9" name="Elbow Connector 208"/>
          <p:cNvCxnSpPr>
            <a:stCxn id="121" idx="2"/>
            <a:endCxn id="183" idx="0"/>
          </p:cNvCxnSpPr>
          <p:nvPr>
            <p:custDataLst>
              <p:tags r:id="rId58"/>
            </p:custDataLst>
          </p:nvPr>
        </p:nvCxnSpPr>
        <p:spPr bwMode="auto">
          <a:xfrm rot="16200000" flipH="1">
            <a:off x="6203981" y="4159656"/>
            <a:ext cx="392936" cy="159895"/>
          </a:xfrm>
          <a:prstGeom prst="bentConnector3">
            <a:avLst/>
          </a:prstGeom>
          <a:solidFill>
            <a:srgbClr val="FFFF00"/>
          </a:solidFill>
          <a:ln w="635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0" name="Elbow Connector 209"/>
          <p:cNvCxnSpPr>
            <a:stCxn id="121" idx="2"/>
            <a:endCxn id="178" idx="0"/>
          </p:cNvCxnSpPr>
          <p:nvPr>
            <p:custDataLst>
              <p:tags r:id="rId59"/>
            </p:custDataLst>
          </p:nvPr>
        </p:nvCxnSpPr>
        <p:spPr bwMode="auto">
          <a:xfrm rot="5400000">
            <a:off x="6027483" y="4137079"/>
            <a:ext cx="386962" cy="199076"/>
          </a:xfrm>
          <a:prstGeom prst="bentConnector3">
            <a:avLst/>
          </a:prstGeom>
          <a:solidFill>
            <a:srgbClr val="FFFF00"/>
          </a:solidFill>
          <a:ln w="635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04" name="Rectangle 203"/>
          <p:cNvSpPr/>
          <p:nvPr>
            <p:custDataLst>
              <p:tags r:id="rId60"/>
            </p:custDataLst>
          </p:nvPr>
        </p:nvSpPr>
        <p:spPr bwMode="auto">
          <a:xfrm>
            <a:off x="6186198" y="3694477"/>
            <a:ext cx="391128" cy="347044"/>
          </a:xfrm>
          <a:prstGeom prst="rect">
            <a:avLst/>
          </a:prstGeom>
          <a:solidFill>
            <a:srgbClr val="FF99CC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21" name="Rectangle 120"/>
          <p:cNvSpPr/>
          <p:nvPr>
            <p:custDataLst>
              <p:tags r:id="rId61"/>
            </p:custDataLst>
          </p:nvPr>
        </p:nvSpPr>
        <p:spPr bwMode="auto">
          <a:xfrm>
            <a:off x="6124938" y="3722460"/>
            <a:ext cx="391128" cy="320676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20" name="Rectangle 119"/>
          <p:cNvSpPr/>
          <p:nvPr>
            <p:custDataLst>
              <p:tags r:id="rId62"/>
            </p:custDataLst>
          </p:nvPr>
        </p:nvSpPr>
        <p:spPr bwMode="auto">
          <a:xfrm>
            <a:off x="6087799" y="3760879"/>
            <a:ext cx="391128" cy="347043"/>
          </a:xfrm>
          <a:prstGeom prst="rect">
            <a:avLst/>
          </a:prstGeom>
          <a:solidFill>
            <a:srgbClr val="F4540C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22" name="Rectangle 121"/>
          <p:cNvSpPr/>
          <p:nvPr>
            <p:custDataLst>
              <p:tags r:id="rId63"/>
            </p:custDataLst>
          </p:nvPr>
        </p:nvSpPr>
        <p:spPr bwMode="auto">
          <a:xfrm>
            <a:off x="6042862" y="3806456"/>
            <a:ext cx="391128" cy="347044"/>
          </a:xfrm>
          <a:prstGeom prst="rect">
            <a:avLst/>
          </a:prstGeom>
          <a:solidFill>
            <a:srgbClr val="6600CC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Purple</a:t>
            </a: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CC</a:t>
            </a: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19" name="Rounded Rectangle 118"/>
          <p:cNvSpPr/>
          <p:nvPr>
            <p:custDataLst>
              <p:tags r:id="rId64"/>
            </p:custDataLst>
          </p:nvPr>
        </p:nvSpPr>
        <p:spPr bwMode="auto">
          <a:xfrm>
            <a:off x="6767628" y="4494307"/>
            <a:ext cx="321807" cy="272177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S1</a:t>
            </a:r>
            <a:endParaRPr lang="th-TH" sz="11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15" name="Rounded Rectangle 114"/>
          <p:cNvSpPr/>
          <p:nvPr>
            <p:custDataLst>
              <p:tags r:id="rId65"/>
            </p:custDataLst>
          </p:nvPr>
        </p:nvSpPr>
        <p:spPr bwMode="auto">
          <a:xfrm>
            <a:off x="6937290" y="5236403"/>
            <a:ext cx="152146" cy="175399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2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18" name="Rounded Rectangle 117"/>
          <p:cNvSpPr/>
          <p:nvPr>
            <p:custDataLst>
              <p:tags r:id="rId66"/>
            </p:custDataLst>
          </p:nvPr>
        </p:nvSpPr>
        <p:spPr bwMode="auto">
          <a:xfrm>
            <a:off x="6767628" y="5236403"/>
            <a:ext cx="152146" cy="175399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44" name="Elbow Connector 43"/>
          <p:cNvCxnSpPr>
            <a:stCxn id="118" idx="0"/>
            <a:endCxn id="119" idx="2"/>
          </p:cNvCxnSpPr>
          <p:nvPr>
            <p:custDataLst>
              <p:tags r:id="rId67"/>
            </p:custDataLst>
          </p:nvPr>
        </p:nvCxnSpPr>
        <p:spPr bwMode="auto">
          <a:xfrm rot="5400000" flipH="1" flipV="1">
            <a:off x="6651156" y="4959029"/>
            <a:ext cx="469917" cy="8483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Elbow Connector 130"/>
          <p:cNvCxnSpPr>
            <a:stCxn id="115" idx="0"/>
            <a:endCxn id="119" idx="2"/>
          </p:cNvCxnSpPr>
          <p:nvPr>
            <p:custDataLst>
              <p:tags r:id="rId68"/>
            </p:custDataLst>
          </p:nvPr>
        </p:nvCxnSpPr>
        <p:spPr bwMode="auto">
          <a:xfrm rot="16200000" flipV="1">
            <a:off x="6735988" y="4959028"/>
            <a:ext cx="469917" cy="8483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Rounded Rectangle 63"/>
          <p:cNvSpPr/>
          <p:nvPr>
            <p:custDataLst>
              <p:tags r:id="rId69"/>
            </p:custDataLst>
          </p:nvPr>
        </p:nvSpPr>
        <p:spPr bwMode="auto">
          <a:xfrm>
            <a:off x="7115424" y="4494307"/>
            <a:ext cx="321807" cy="272177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S2</a:t>
            </a:r>
            <a:endParaRPr lang="th-TH" sz="11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65" name="Rounded Rectangle 64"/>
          <p:cNvSpPr/>
          <p:nvPr>
            <p:custDataLst>
              <p:tags r:id="rId70"/>
            </p:custDataLst>
          </p:nvPr>
        </p:nvSpPr>
        <p:spPr bwMode="auto">
          <a:xfrm>
            <a:off x="7285085" y="5236403"/>
            <a:ext cx="152146" cy="175399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2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66" name="Rounded Rectangle 65"/>
          <p:cNvSpPr/>
          <p:nvPr>
            <p:custDataLst>
              <p:tags r:id="rId71"/>
            </p:custDataLst>
          </p:nvPr>
        </p:nvSpPr>
        <p:spPr bwMode="auto">
          <a:xfrm>
            <a:off x="7115424" y="5236403"/>
            <a:ext cx="152146" cy="175399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67" name="Elbow Connector 66"/>
          <p:cNvCxnSpPr>
            <a:stCxn id="66" idx="0"/>
            <a:endCxn id="64" idx="2"/>
          </p:cNvCxnSpPr>
          <p:nvPr>
            <p:custDataLst>
              <p:tags r:id="rId72"/>
            </p:custDataLst>
          </p:nvPr>
        </p:nvCxnSpPr>
        <p:spPr bwMode="auto">
          <a:xfrm rot="5400000" flipH="1" flipV="1">
            <a:off x="6998952" y="4959029"/>
            <a:ext cx="469917" cy="8483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Elbow Connector 67"/>
          <p:cNvCxnSpPr>
            <a:stCxn id="65" idx="0"/>
            <a:endCxn id="64" idx="2"/>
          </p:cNvCxnSpPr>
          <p:nvPr>
            <p:custDataLst>
              <p:tags r:id="rId73"/>
            </p:custDataLst>
          </p:nvPr>
        </p:nvCxnSpPr>
        <p:spPr bwMode="auto">
          <a:xfrm rot="16200000" flipV="1">
            <a:off x="7083784" y="4959028"/>
            <a:ext cx="469917" cy="8483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5" name="Rectangle 214"/>
          <p:cNvSpPr/>
          <p:nvPr>
            <p:custDataLst>
              <p:tags r:id="rId74"/>
            </p:custDataLst>
          </p:nvPr>
        </p:nvSpPr>
        <p:spPr bwMode="auto">
          <a:xfrm>
            <a:off x="6850333" y="3722460"/>
            <a:ext cx="473264" cy="419924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BMCL</a:t>
            </a: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CC</a:t>
            </a: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16" name="Elbow Connector 215"/>
          <p:cNvCxnSpPr>
            <a:stCxn id="64" idx="0"/>
            <a:endCxn id="215" idx="2"/>
          </p:cNvCxnSpPr>
          <p:nvPr>
            <p:custDataLst>
              <p:tags r:id="rId75"/>
            </p:custDataLst>
          </p:nvPr>
        </p:nvCxnSpPr>
        <p:spPr bwMode="auto">
          <a:xfrm rot="16200000" flipV="1">
            <a:off x="7005684" y="4223664"/>
            <a:ext cx="351924" cy="18936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7" name="Elbow Connector 216"/>
          <p:cNvCxnSpPr>
            <a:stCxn id="119" idx="0"/>
            <a:endCxn id="215" idx="2"/>
          </p:cNvCxnSpPr>
          <p:nvPr>
            <p:custDataLst>
              <p:tags r:id="rId76"/>
            </p:custDataLst>
          </p:nvPr>
        </p:nvCxnSpPr>
        <p:spPr bwMode="auto">
          <a:xfrm rot="5400000" flipH="1" flipV="1">
            <a:off x="6831785" y="4239129"/>
            <a:ext cx="351924" cy="15843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9" name="Rounded Rectangle 218"/>
          <p:cNvSpPr/>
          <p:nvPr>
            <p:custDataLst>
              <p:tags r:id="rId77"/>
            </p:custDataLst>
          </p:nvPr>
        </p:nvSpPr>
        <p:spPr bwMode="auto">
          <a:xfrm>
            <a:off x="7512433" y="4494307"/>
            <a:ext cx="321807" cy="272177"/>
          </a:xfrm>
          <a:prstGeom prst="roundRect">
            <a:avLst/>
          </a:prstGeom>
          <a:solidFill>
            <a:srgbClr val="00321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S1</a:t>
            </a:r>
            <a:endParaRPr lang="th-TH" sz="11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20" name="Rounded Rectangle 219"/>
          <p:cNvSpPr/>
          <p:nvPr>
            <p:custDataLst>
              <p:tags r:id="rId78"/>
            </p:custDataLst>
          </p:nvPr>
        </p:nvSpPr>
        <p:spPr bwMode="auto">
          <a:xfrm>
            <a:off x="7682095" y="5236403"/>
            <a:ext cx="152146" cy="175399"/>
          </a:xfrm>
          <a:prstGeom prst="roundRect">
            <a:avLst/>
          </a:prstGeom>
          <a:solidFill>
            <a:srgbClr val="00321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2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21" name="Rounded Rectangle 220"/>
          <p:cNvSpPr/>
          <p:nvPr>
            <p:custDataLst>
              <p:tags r:id="rId79"/>
            </p:custDataLst>
          </p:nvPr>
        </p:nvSpPr>
        <p:spPr bwMode="auto">
          <a:xfrm>
            <a:off x="7512433" y="5236403"/>
            <a:ext cx="152146" cy="175399"/>
          </a:xfrm>
          <a:prstGeom prst="roundRect">
            <a:avLst/>
          </a:prstGeom>
          <a:solidFill>
            <a:srgbClr val="00321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22" name="Elbow Connector 221"/>
          <p:cNvCxnSpPr>
            <a:stCxn id="221" idx="0"/>
            <a:endCxn id="219" idx="2"/>
          </p:cNvCxnSpPr>
          <p:nvPr>
            <p:custDataLst>
              <p:tags r:id="rId80"/>
            </p:custDataLst>
          </p:nvPr>
        </p:nvCxnSpPr>
        <p:spPr bwMode="auto">
          <a:xfrm rot="5400000" flipH="1" flipV="1">
            <a:off x="7395962" y="4959029"/>
            <a:ext cx="469917" cy="84831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3" name="Elbow Connector 222"/>
          <p:cNvCxnSpPr>
            <a:stCxn id="220" idx="0"/>
            <a:endCxn id="219" idx="2"/>
          </p:cNvCxnSpPr>
          <p:nvPr>
            <p:custDataLst>
              <p:tags r:id="rId81"/>
            </p:custDataLst>
          </p:nvPr>
        </p:nvCxnSpPr>
        <p:spPr bwMode="auto">
          <a:xfrm rot="16200000" flipV="1">
            <a:off x="7480793" y="4959028"/>
            <a:ext cx="469917" cy="84831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4" name="Rounded Rectangle 223"/>
          <p:cNvSpPr/>
          <p:nvPr>
            <p:custDataLst>
              <p:tags r:id="rId82"/>
            </p:custDataLst>
          </p:nvPr>
        </p:nvSpPr>
        <p:spPr bwMode="auto">
          <a:xfrm>
            <a:off x="7860229" y="4494307"/>
            <a:ext cx="321807" cy="272177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Ext.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25" name="Rounded Rectangle 224"/>
          <p:cNvSpPr/>
          <p:nvPr>
            <p:custDataLst>
              <p:tags r:id="rId83"/>
            </p:custDataLst>
          </p:nvPr>
        </p:nvSpPr>
        <p:spPr bwMode="auto">
          <a:xfrm>
            <a:off x="8029890" y="5236403"/>
            <a:ext cx="152146" cy="175399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2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26" name="Rounded Rectangle 225"/>
          <p:cNvSpPr/>
          <p:nvPr>
            <p:custDataLst>
              <p:tags r:id="rId84"/>
            </p:custDataLst>
          </p:nvPr>
        </p:nvSpPr>
        <p:spPr bwMode="auto">
          <a:xfrm>
            <a:off x="7860229" y="5236403"/>
            <a:ext cx="152146" cy="175399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27" name="Elbow Connector 226"/>
          <p:cNvCxnSpPr>
            <a:stCxn id="226" idx="0"/>
            <a:endCxn id="224" idx="2"/>
          </p:cNvCxnSpPr>
          <p:nvPr>
            <p:custDataLst>
              <p:tags r:id="rId85"/>
            </p:custDataLst>
          </p:nvPr>
        </p:nvCxnSpPr>
        <p:spPr bwMode="auto">
          <a:xfrm rot="5400000" flipH="1" flipV="1">
            <a:off x="7743759" y="4959031"/>
            <a:ext cx="469918" cy="84830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8" name="Elbow Connector 227"/>
          <p:cNvCxnSpPr>
            <a:stCxn id="225" idx="0"/>
            <a:endCxn id="224" idx="2"/>
          </p:cNvCxnSpPr>
          <p:nvPr>
            <p:custDataLst>
              <p:tags r:id="rId86"/>
            </p:custDataLst>
          </p:nvPr>
        </p:nvCxnSpPr>
        <p:spPr bwMode="auto">
          <a:xfrm rot="16200000" flipV="1">
            <a:off x="7828590" y="4959029"/>
            <a:ext cx="469918" cy="84831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9" name="Rectangle 228"/>
          <p:cNvSpPr/>
          <p:nvPr>
            <p:custDataLst>
              <p:tags r:id="rId87"/>
            </p:custDataLst>
          </p:nvPr>
        </p:nvSpPr>
        <p:spPr bwMode="auto">
          <a:xfrm>
            <a:off x="7595139" y="3722460"/>
            <a:ext cx="473264" cy="419924"/>
          </a:xfrm>
          <a:prstGeom prst="rect">
            <a:avLst/>
          </a:prstGeom>
          <a:solidFill>
            <a:srgbClr val="003217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BTS</a:t>
            </a:r>
            <a:endParaRPr lang="en-US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CC</a:t>
            </a: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30" name="Elbow Connector 229"/>
          <p:cNvCxnSpPr>
            <a:stCxn id="224" idx="0"/>
            <a:endCxn id="229" idx="2"/>
          </p:cNvCxnSpPr>
          <p:nvPr>
            <p:custDataLst>
              <p:tags r:id="rId88"/>
            </p:custDataLst>
          </p:nvPr>
        </p:nvCxnSpPr>
        <p:spPr bwMode="auto">
          <a:xfrm rot="16200000" flipV="1">
            <a:off x="7750489" y="4223664"/>
            <a:ext cx="351924" cy="189361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1" name="Elbow Connector 230"/>
          <p:cNvCxnSpPr>
            <a:stCxn id="219" idx="0"/>
            <a:endCxn id="229" idx="2"/>
          </p:cNvCxnSpPr>
          <p:nvPr>
            <p:custDataLst>
              <p:tags r:id="rId89"/>
            </p:custDataLst>
          </p:nvPr>
        </p:nvCxnSpPr>
        <p:spPr bwMode="auto">
          <a:xfrm rot="5400000" flipH="1" flipV="1">
            <a:off x="7576591" y="4239129"/>
            <a:ext cx="351924" cy="158435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2" name="Rounded Rectangle 231"/>
          <p:cNvSpPr/>
          <p:nvPr>
            <p:custDataLst>
              <p:tags r:id="rId90"/>
            </p:custDataLst>
          </p:nvPr>
        </p:nvSpPr>
        <p:spPr bwMode="auto">
          <a:xfrm>
            <a:off x="8301207" y="4494307"/>
            <a:ext cx="321807" cy="272177"/>
          </a:xfrm>
          <a:prstGeom prst="roundRect">
            <a:avLst/>
          </a:prstGeom>
          <a:solidFill>
            <a:srgbClr val="CCFF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S1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33" name="Rounded Rectangle 232"/>
          <p:cNvSpPr/>
          <p:nvPr>
            <p:custDataLst>
              <p:tags r:id="rId91"/>
            </p:custDataLst>
          </p:nvPr>
        </p:nvSpPr>
        <p:spPr bwMode="auto">
          <a:xfrm>
            <a:off x="8470868" y="5236403"/>
            <a:ext cx="152146" cy="175399"/>
          </a:xfrm>
          <a:prstGeom prst="roundRect">
            <a:avLst/>
          </a:prstGeom>
          <a:solidFill>
            <a:srgbClr val="CCFF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2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34" name="Rounded Rectangle 233"/>
          <p:cNvSpPr/>
          <p:nvPr>
            <p:custDataLst>
              <p:tags r:id="rId92"/>
            </p:custDataLst>
          </p:nvPr>
        </p:nvSpPr>
        <p:spPr bwMode="auto">
          <a:xfrm>
            <a:off x="8301207" y="5236403"/>
            <a:ext cx="152146" cy="175399"/>
          </a:xfrm>
          <a:prstGeom prst="roundRect">
            <a:avLst/>
          </a:prstGeom>
          <a:solidFill>
            <a:srgbClr val="CCFF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35" name="Elbow Connector 234"/>
          <p:cNvCxnSpPr>
            <a:stCxn id="234" idx="0"/>
            <a:endCxn id="232" idx="2"/>
          </p:cNvCxnSpPr>
          <p:nvPr>
            <p:custDataLst>
              <p:tags r:id="rId93"/>
            </p:custDataLst>
          </p:nvPr>
        </p:nvCxnSpPr>
        <p:spPr bwMode="auto">
          <a:xfrm rot="5400000" flipH="1" flipV="1">
            <a:off x="8184736" y="4959031"/>
            <a:ext cx="469918" cy="84830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6" name="Elbow Connector 235"/>
          <p:cNvCxnSpPr>
            <a:stCxn id="233" idx="0"/>
            <a:endCxn id="232" idx="2"/>
          </p:cNvCxnSpPr>
          <p:nvPr>
            <p:custDataLst>
              <p:tags r:id="rId94"/>
            </p:custDataLst>
          </p:nvPr>
        </p:nvCxnSpPr>
        <p:spPr bwMode="auto">
          <a:xfrm rot="16200000" flipV="1">
            <a:off x="8269567" y="4959029"/>
            <a:ext cx="469918" cy="84832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7" name="Rounded Rectangle 236"/>
          <p:cNvSpPr/>
          <p:nvPr>
            <p:custDataLst>
              <p:tags r:id="rId95"/>
            </p:custDataLst>
          </p:nvPr>
        </p:nvSpPr>
        <p:spPr bwMode="auto">
          <a:xfrm>
            <a:off x="8649002" y="4494307"/>
            <a:ext cx="321807" cy="272177"/>
          </a:xfrm>
          <a:prstGeom prst="roundRect">
            <a:avLst/>
          </a:prstGeom>
          <a:solidFill>
            <a:srgbClr val="CCFF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S2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38" name="Rounded Rectangle 237"/>
          <p:cNvSpPr/>
          <p:nvPr>
            <p:custDataLst>
              <p:tags r:id="rId96"/>
            </p:custDataLst>
          </p:nvPr>
        </p:nvSpPr>
        <p:spPr bwMode="auto">
          <a:xfrm>
            <a:off x="8818663" y="5236403"/>
            <a:ext cx="152146" cy="175399"/>
          </a:xfrm>
          <a:prstGeom prst="roundRect">
            <a:avLst/>
          </a:prstGeom>
          <a:solidFill>
            <a:srgbClr val="CCFF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2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39" name="Rounded Rectangle 238"/>
          <p:cNvSpPr/>
          <p:nvPr>
            <p:custDataLst>
              <p:tags r:id="rId97"/>
            </p:custDataLst>
          </p:nvPr>
        </p:nvSpPr>
        <p:spPr bwMode="auto">
          <a:xfrm>
            <a:off x="8649002" y="5236403"/>
            <a:ext cx="152146" cy="175399"/>
          </a:xfrm>
          <a:prstGeom prst="roundRect">
            <a:avLst/>
          </a:prstGeom>
          <a:solidFill>
            <a:srgbClr val="CCFF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40" name="Elbow Connector 239"/>
          <p:cNvCxnSpPr>
            <a:stCxn id="239" idx="0"/>
            <a:endCxn id="237" idx="2"/>
          </p:cNvCxnSpPr>
          <p:nvPr>
            <p:custDataLst>
              <p:tags r:id="rId98"/>
            </p:custDataLst>
          </p:nvPr>
        </p:nvCxnSpPr>
        <p:spPr bwMode="auto">
          <a:xfrm rot="5400000" flipH="1" flipV="1">
            <a:off x="8532533" y="4959031"/>
            <a:ext cx="469918" cy="84830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1" name="Elbow Connector 240"/>
          <p:cNvCxnSpPr>
            <a:stCxn id="238" idx="0"/>
            <a:endCxn id="237" idx="2"/>
          </p:cNvCxnSpPr>
          <p:nvPr>
            <p:custDataLst>
              <p:tags r:id="rId99"/>
            </p:custDataLst>
          </p:nvPr>
        </p:nvCxnSpPr>
        <p:spPr bwMode="auto">
          <a:xfrm rot="16200000" flipV="1">
            <a:off x="8617363" y="4959029"/>
            <a:ext cx="469918" cy="84831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2" name="Rectangle 241"/>
          <p:cNvSpPr/>
          <p:nvPr>
            <p:custDataLst>
              <p:tags r:id="rId100"/>
            </p:custDataLst>
          </p:nvPr>
        </p:nvSpPr>
        <p:spPr bwMode="auto">
          <a:xfrm>
            <a:off x="8383912" y="3722460"/>
            <a:ext cx="473264" cy="419924"/>
          </a:xfrm>
          <a:prstGeom prst="rect">
            <a:avLst/>
          </a:prstGeom>
          <a:solidFill>
            <a:srgbClr val="CCFF99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BRT</a:t>
            </a:r>
            <a:endParaRPr lang="en-US" sz="1400" b="1" dirty="0">
              <a:latin typeface="Cordia New" pitchFamily="34" charset="-34"/>
              <a:cs typeface="Cordia New" pitchFamily="34" charset="-34"/>
            </a:endParaRP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latin typeface="Cordia New" pitchFamily="34" charset="-34"/>
                <a:cs typeface="Cordia New" pitchFamily="34" charset="-34"/>
              </a:rPr>
              <a:t>CC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43" name="Elbow Connector 242"/>
          <p:cNvCxnSpPr>
            <a:stCxn id="237" idx="0"/>
            <a:endCxn id="242" idx="2"/>
          </p:cNvCxnSpPr>
          <p:nvPr>
            <p:custDataLst>
              <p:tags r:id="rId101"/>
            </p:custDataLst>
          </p:nvPr>
        </p:nvCxnSpPr>
        <p:spPr bwMode="auto">
          <a:xfrm rot="16200000" flipV="1">
            <a:off x="8539263" y="4223664"/>
            <a:ext cx="351924" cy="189361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4" name="Elbow Connector 243"/>
          <p:cNvCxnSpPr>
            <a:stCxn id="232" idx="0"/>
            <a:endCxn id="242" idx="2"/>
          </p:cNvCxnSpPr>
          <p:nvPr>
            <p:custDataLst>
              <p:tags r:id="rId102"/>
            </p:custDataLst>
          </p:nvPr>
        </p:nvCxnSpPr>
        <p:spPr bwMode="auto">
          <a:xfrm rot="5400000" flipH="1" flipV="1">
            <a:off x="8365364" y="4239129"/>
            <a:ext cx="351924" cy="158435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6" name="Rounded Rectangle 245"/>
          <p:cNvSpPr/>
          <p:nvPr>
            <p:custDataLst>
              <p:tags r:id="rId103"/>
            </p:custDataLst>
          </p:nvPr>
        </p:nvSpPr>
        <p:spPr bwMode="auto">
          <a:xfrm>
            <a:off x="4364115" y="4494307"/>
            <a:ext cx="321807" cy="272177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latin typeface="Cordia New" pitchFamily="34" charset="-34"/>
                <a:cs typeface="Cordia New" pitchFamily="34" charset="-34"/>
              </a:rPr>
              <a:t>Depot</a:t>
            </a:r>
          </a:p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Cordia New" pitchFamily="34" charset="-34"/>
                <a:cs typeface="Cordia New" pitchFamily="34" charset="-34"/>
              </a:rPr>
              <a:t>1</a:t>
            </a:r>
            <a:endParaRPr lang="th-TH" sz="12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47" name="Rounded Rectangle 246"/>
          <p:cNvSpPr/>
          <p:nvPr>
            <p:custDataLst>
              <p:tags r:id="rId104"/>
            </p:custDataLst>
          </p:nvPr>
        </p:nvSpPr>
        <p:spPr bwMode="auto">
          <a:xfrm>
            <a:off x="4533777" y="5236403"/>
            <a:ext cx="152146" cy="175399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48" name="Rounded Rectangle 247"/>
          <p:cNvSpPr/>
          <p:nvPr>
            <p:custDataLst>
              <p:tags r:id="rId105"/>
            </p:custDataLst>
          </p:nvPr>
        </p:nvSpPr>
        <p:spPr bwMode="auto">
          <a:xfrm>
            <a:off x="4364115" y="5236403"/>
            <a:ext cx="152146" cy="175399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49" name="Elbow Connector 248"/>
          <p:cNvCxnSpPr>
            <a:stCxn id="248" idx="0"/>
            <a:endCxn id="246" idx="2"/>
          </p:cNvCxnSpPr>
          <p:nvPr>
            <p:custDataLst>
              <p:tags r:id="rId106"/>
            </p:custDataLst>
          </p:nvPr>
        </p:nvCxnSpPr>
        <p:spPr bwMode="auto">
          <a:xfrm rot="5400000" flipH="1" flipV="1">
            <a:off x="4247644" y="4959031"/>
            <a:ext cx="469918" cy="84830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0" name="Elbow Connector 249"/>
          <p:cNvCxnSpPr>
            <a:stCxn id="247" idx="0"/>
            <a:endCxn id="246" idx="2"/>
          </p:cNvCxnSpPr>
          <p:nvPr>
            <p:custDataLst>
              <p:tags r:id="rId107"/>
            </p:custDataLst>
          </p:nvPr>
        </p:nvCxnSpPr>
        <p:spPr bwMode="auto">
          <a:xfrm rot="16200000" flipV="1">
            <a:off x="4332476" y="4959029"/>
            <a:ext cx="469918" cy="84832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1" name="Rounded Rectangle 250"/>
          <p:cNvSpPr/>
          <p:nvPr>
            <p:custDataLst>
              <p:tags r:id="rId108"/>
            </p:custDataLst>
          </p:nvPr>
        </p:nvSpPr>
        <p:spPr bwMode="auto">
          <a:xfrm>
            <a:off x="4711912" y="4494307"/>
            <a:ext cx="321807" cy="272177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latin typeface="Cordia New" pitchFamily="34" charset="-34"/>
                <a:cs typeface="Cordia New" pitchFamily="34" charset="-34"/>
              </a:rPr>
              <a:t>Depot</a:t>
            </a:r>
          </a:p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Cordia New" pitchFamily="34" charset="-34"/>
                <a:cs typeface="Cordia New" pitchFamily="34" charset="-34"/>
              </a:rPr>
              <a:t>2</a:t>
            </a:r>
            <a:endParaRPr lang="th-TH" sz="12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52" name="Rounded Rectangle 251"/>
          <p:cNvSpPr/>
          <p:nvPr>
            <p:custDataLst>
              <p:tags r:id="rId109"/>
            </p:custDataLst>
          </p:nvPr>
        </p:nvSpPr>
        <p:spPr bwMode="auto">
          <a:xfrm>
            <a:off x="4881571" y="5236403"/>
            <a:ext cx="152146" cy="175399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53" name="Rounded Rectangle 252"/>
          <p:cNvSpPr/>
          <p:nvPr>
            <p:custDataLst>
              <p:tags r:id="rId110"/>
            </p:custDataLst>
          </p:nvPr>
        </p:nvSpPr>
        <p:spPr bwMode="auto">
          <a:xfrm>
            <a:off x="4711912" y="5236403"/>
            <a:ext cx="152146" cy="175399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54" name="Elbow Connector 253"/>
          <p:cNvCxnSpPr>
            <a:stCxn id="253" idx="0"/>
            <a:endCxn id="251" idx="2"/>
          </p:cNvCxnSpPr>
          <p:nvPr>
            <p:custDataLst>
              <p:tags r:id="rId111"/>
            </p:custDataLst>
          </p:nvPr>
        </p:nvCxnSpPr>
        <p:spPr bwMode="auto">
          <a:xfrm rot="5400000" flipH="1" flipV="1">
            <a:off x="4595441" y="4959031"/>
            <a:ext cx="469918" cy="84830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5" name="Elbow Connector 254"/>
          <p:cNvCxnSpPr>
            <a:stCxn id="252" idx="0"/>
            <a:endCxn id="251" idx="2"/>
          </p:cNvCxnSpPr>
          <p:nvPr>
            <p:custDataLst>
              <p:tags r:id="rId112"/>
            </p:custDataLst>
          </p:nvPr>
        </p:nvCxnSpPr>
        <p:spPr bwMode="auto">
          <a:xfrm rot="16200000" flipV="1">
            <a:off x="4680272" y="4959029"/>
            <a:ext cx="469918" cy="84831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6" name="Rectangle 255"/>
          <p:cNvSpPr/>
          <p:nvPr>
            <p:custDataLst>
              <p:tags r:id="rId113"/>
            </p:custDataLst>
          </p:nvPr>
        </p:nvSpPr>
        <p:spPr bwMode="auto">
          <a:xfrm>
            <a:off x="4434300" y="3722460"/>
            <a:ext cx="473264" cy="41992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BUS</a:t>
            </a:r>
            <a:endParaRPr lang="en-US" sz="1400" b="1" dirty="0">
              <a:latin typeface="Cordia New" pitchFamily="34" charset="-34"/>
              <a:cs typeface="Cordia New" pitchFamily="34" charset="-34"/>
            </a:endParaRP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latin typeface="Cordia New" pitchFamily="34" charset="-34"/>
                <a:cs typeface="Cordia New" pitchFamily="34" charset="-34"/>
              </a:rPr>
              <a:t>CC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57" name="Elbow Connector 256"/>
          <p:cNvCxnSpPr>
            <a:stCxn id="251" idx="0"/>
            <a:endCxn id="256" idx="2"/>
          </p:cNvCxnSpPr>
          <p:nvPr>
            <p:custDataLst>
              <p:tags r:id="rId114"/>
            </p:custDataLst>
          </p:nvPr>
        </p:nvCxnSpPr>
        <p:spPr bwMode="auto">
          <a:xfrm rot="16200000" flipV="1">
            <a:off x="4595911" y="4217405"/>
            <a:ext cx="351924" cy="201882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8" name="Elbow Connector 257"/>
          <p:cNvCxnSpPr>
            <a:stCxn id="246" idx="0"/>
            <a:endCxn id="256" idx="2"/>
          </p:cNvCxnSpPr>
          <p:nvPr>
            <p:custDataLst>
              <p:tags r:id="rId115"/>
            </p:custDataLst>
          </p:nvPr>
        </p:nvCxnSpPr>
        <p:spPr bwMode="auto">
          <a:xfrm rot="5400000" flipH="1" flipV="1">
            <a:off x="4422012" y="4245388"/>
            <a:ext cx="351924" cy="145914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1" name="Rounded Rectangle 260"/>
          <p:cNvSpPr/>
          <p:nvPr>
            <p:custDataLst>
              <p:tags r:id="rId116"/>
            </p:custDataLst>
          </p:nvPr>
        </p:nvSpPr>
        <p:spPr bwMode="auto">
          <a:xfrm>
            <a:off x="3662685" y="4494307"/>
            <a:ext cx="321807" cy="272177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Ferry</a:t>
            </a:r>
          </a:p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i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Pier 1</a:t>
            </a:r>
            <a:endParaRPr lang="th-TH" sz="1000" i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62" name="Rounded Rectangle 261"/>
          <p:cNvSpPr/>
          <p:nvPr>
            <p:custDataLst>
              <p:tags r:id="rId117"/>
            </p:custDataLst>
          </p:nvPr>
        </p:nvSpPr>
        <p:spPr bwMode="auto">
          <a:xfrm>
            <a:off x="3832347" y="5236403"/>
            <a:ext cx="152146" cy="175399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63" name="Rounded Rectangle 262"/>
          <p:cNvSpPr/>
          <p:nvPr>
            <p:custDataLst>
              <p:tags r:id="rId118"/>
            </p:custDataLst>
          </p:nvPr>
        </p:nvSpPr>
        <p:spPr bwMode="auto">
          <a:xfrm>
            <a:off x="3662685" y="5236403"/>
            <a:ext cx="152146" cy="175399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64" name="Elbow Connector 263"/>
          <p:cNvCxnSpPr>
            <a:stCxn id="263" idx="0"/>
            <a:endCxn id="261" idx="2"/>
          </p:cNvCxnSpPr>
          <p:nvPr>
            <p:custDataLst>
              <p:tags r:id="rId119"/>
            </p:custDataLst>
          </p:nvPr>
        </p:nvCxnSpPr>
        <p:spPr bwMode="auto">
          <a:xfrm rot="5400000" flipH="1" flipV="1">
            <a:off x="3546215" y="4959031"/>
            <a:ext cx="469918" cy="84830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5" name="Elbow Connector 264"/>
          <p:cNvCxnSpPr>
            <a:stCxn id="262" idx="0"/>
            <a:endCxn id="261" idx="2"/>
          </p:cNvCxnSpPr>
          <p:nvPr>
            <p:custDataLst>
              <p:tags r:id="rId120"/>
            </p:custDataLst>
          </p:nvPr>
        </p:nvCxnSpPr>
        <p:spPr bwMode="auto">
          <a:xfrm rot="16200000" flipV="1">
            <a:off x="3631045" y="4959029"/>
            <a:ext cx="469918" cy="84832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6" name="Rounded Rectangle 265"/>
          <p:cNvSpPr/>
          <p:nvPr>
            <p:custDataLst>
              <p:tags r:id="rId121"/>
            </p:custDataLst>
          </p:nvPr>
        </p:nvSpPr>
        <p:spPr bwMode="auto">
          <a:xfrm>
            <a:off x="4010481" y="4494307"/>
            <a:ext cx="321807" cy="272177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Ferry</a:t>
            </a:r>
          </a:p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i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Pier 2</a:t>
            </a:r>
            <a:endParaRPr lang="th-TH" sz="1000" i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67" name="Rounded Rectangle 266"/>
          <p:cNvSpPr/>
          <p:nvPr>
            <p:custDataLst>
              <p:tags r:id="rId122"/>
            </p:custDataLst>
          </p:nvPr>
        </p:nvSpPr>
        <p:spPr bwMode="auto">
          <a:xfrm>
            <a:off x="4180142" y="5236403"/>
            <a:ext cx="152146" cy="175399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68" name="Rounded Rectangle 267"/>
          <p:cNvSpPr/>
          <p:nvPr>
            <p:custDataLst>
              <p:tags r:id="rId123"/>
            </p:custDataLst>
          </p:nvPr>
        </p:nvSpPr>
        <p:spPr bwMode="auto">
          <a:xfrm>
            <a:off x="4010481" y="5236403"/>
            <a:ext cx="152146" cy="175399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69" name="Elbow Connector 268"/>
          <p:cNvCxnSpPr>
            <a:stCxn id="268" idx="0"/>
            <a:endCxn id="266" idx="2"/>
          </p:cNvCxnSpPr>
          <p:nvPr>
            <p:custDataLst>
              <p:tags r:id="rId124"/>
            </p:custDataLst>
          </p:nvPr>
        </p:nvCxnSpPr>
        <p:spPr bwMode="auto">
          <a:xfrm rot="5400000" flipH="1" flipV="1">
            <a:off x="3894011" y="4959031"/>
            <a:ext cx="469918" cy="84830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0" name="Elbow Connector 269"/>
          <p:cNvCxnSpPr>
            <a:stCxn id="267" idx="0"/>
            <a:endCxn id="266" idx="2"/>
          </p:cNvCxnSpPr>
          <p:nvPr>
            <p:custDataLst>
              <p:tags r:id="rId125"/>
            </p:custDataLst>
          </p:nvPr>
        </p:nvCxnSpPr>
        <p:spPr bwMode="auto">
          <a:xfrm rot="16200000" flipV="1">
            <a:off x="3978842" y="4959029"/>
            <a:ext cx="469918" cy="84831"/>
          </a:xfrm>
          <a:prstGeom prst="bentConnector3">
            <a:avLst/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1" name="Elbow Connector 270"/>
          <p:cNvCxnSpPr>
            <a:stCxn id="266" idx="0"/>
            <a:endCxn id="256" idx="1"/>
          </p:cNvCxnSpPr>
          <p:nvPr>
            <p:custDataLst>
              <p:tags r:id="rId126"/>
            </p:custDataLst>
          </p:nvPr>
        </p:nvCxnSpPr>
        <p:spPr bwMode="auto">
          <a:xfrm rot="5400000" flipH="1" flipV="1">
            <a:off x="4021901" y="4081907"/>
            <a:ext cx="561885" cy="262915"/>
          </a:xfrm>
          <a:prstGeom prst="bentConnector2">
            <a:avLst/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4" name="Elbow Connector 273"/>
          <p:cNvCxnSpPr>
            <a:stCxn id="261" idx="0"/>
            <a:endCxn id="256" idx="1"/>
          </p:cNvCxnSpPr>
          <p:nvPr>
            <p:custDataLst>
              <p:tags r:id="rId127"/>
            </p:custDataLst>
          </p:nvPr>
        </p:nvCxnSpPr>
        <p:spPr bwMode="auto">
          <a:xfrm rot="5400000" flipH="1" flipV="1">
            <a:off x="3848002" y="3908010"/>
            <a:ext cx="561885" cy="610711"/>
          </a:xfrm>
          <a:prstGeom prst="bentConnector2">
            <a:avLst/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7" name="Rounded Rectangle 276"/>
          <p:cNvSpPr/>
          <p:nvPr>
            <p:custDataLst>
              <p:tags r:id="rId128"/>
            </p:custDataLst>
          </p:nvPr>
        </p:nvSpPr>
        <p:spPr bwMode="auto">
          <a:xfrm>
            <a:off x="5098260" y="4494307"/>
            <a:ext cx="321807" cy="272177"/>
          </a:xfrm>
          <a:prstGeom prst="roundRect">
            <a:avLst/>
          </a:prstGeom>
          <a:solidFill>
            <a:srgbClr val="E32D2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ARL</a:t>
            </a:r>
          </a:p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S1</a:t>
            </a:r>
            <a:endParaRPr lang="th-TH" sz="11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78" name="Rounded Rectangle 277"/>
          <p:cNvSpPr/>
          <p:nvPr>
            <p:custDataLst>
              <p:tags r:id="rId129"/>
            </p:custDataLst>
          </p:nvPr>
        </p:nvSpPr>
        <p:spPr bwMode="auto">
          <a:xfrm>
            <a:off x="5267922" y="5236403"/>
            <a:ext cx="152146" cy="175399"/>
          </a:xfrm>
          <a:prstGeom prst="round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79" name="Rounded Rectangle 278"/>
          <p:cNvSpPr/>
          <p:nvPr>
            <p:custDataLst>
              <p:tags r:id="rId130"/>
            </p:custDataLst>
          </p:nvPr>
        </p:nvSpPr>
        <p:spPr bwMode="auto">
          <a:xfrm>
            <a:off x="5098260" y="5236403"/>
            <a:ext cx="152146" cy="175399"/>
          </a:xfrm>
          <a:prstGeom prst="round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80" name="Elbow Connector 279"/>
          <p:cNvCxnSpPr>
            <a:stCxn id="279" idx="0"/>
            <a:endCxn id="277" idx="2"/>
          </p:cNvCxnSpPr>
          <p:nvPr>
            <p:custDataLst>
              <p:tags r:id="rId131"/>
            </p:custDataLst>
          </p:nvPr>
        </p:nvCxnSpPr>
        <p:spPr bwMode="auto">
          <a:xfrm rot="5400000" flipH="1" flipV="1">
            <a:off x="4981788" y="4959029"/>
            <a:ext cx="469917" cy="8483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1" name="Elbow Connector 280"/>
          <p:cNvCxnSpPr>
            <a:stCxn id="278" idx="0"/>
            <a:endCxn id="277" idx="2"/>
          </p:cNvCxnSpPr>
          <p:nvPr>
            <p:custDataLst>
              <p:tags r:id="rId132"/>
            </p:custDataLst>
          </p:nvPr>
        </p:nvCxnSpPr>
        <p:spPr bwMode="auto">
          <a:xfrm rot="16200000" flipV="1">
            <a:off x="5066620" y="4959028"/>
            <a:ext cx="469917" cy="8483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2" name="Rounded Rectangle 281"/>
          <p:cNvSpPr/>
          <p:nvPr>
            <p:custDataLst>
              <p:tags r:id="rId133"/>
            </p:custDataLst>
          </p:nvPr>
        </p:nvSpPr>
        <p:spPr bwMode="auto">
          <a:xfrm>
            <a:off x="5446056" y="4494307"/>
            <a:ext cx="321807" cy="272177"/>
          </a:xfrm>
          <a:prstGeom prst="roundRect">
            <a:avLst/>
          </a:prstGeom>
          <a:solidFill>
            <a:srgbClr val="E32D2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ARL</a:t>
            </a:r>
          </a:p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S2</a:t>
            </a:r>
            <a:endParaRPr lang="th-TH" sz="11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83" name="Rounded Rectangle 282"/>
          <p:cNvSpPr/>
          <p:nvPr>
            <p:custDataLst>
              <p:tags r:id="rId134"/>
            </p:custDataLst>
          </p:nvPr>
        </p:nvSpPr>
        <p:spPr bwMode="auto">
          <a:xfrm>
            <a:off x="5615716" y="5236403"/>
            <a:ext cx="152146" cy="175399"/>
          </a:xfrm>
          <a:prstGeom prst="round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84" name="Rounded Rectangle 283"/>
          <p:cNvSpPr/>
          <p:nvPr>
            <p:custDataLst>
              <p:tags r:id="rId135"/>
            </p:custDataLst>
          </p:nvPr>
        </p:nvSpPr>
        <p:spPr bwMode="auto">
          <a:xfrm>
            <a:off x="5446056" y="5236403"/>
            <a:ext cx="152146" cy="175399"/>
          </a:xfrm>
          <a:prstGeom prst="round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85" name="Elbow Connector 284"/>
          <p:cNvCxnSpPr>
            <a:stCxn id="284" idx="0"/>
            <a:endCxn id="282" idx="2"/>
          </p:cNvCxnSpPr>
          <p:nvPr>
            <p:custDataLst>
              <p:tags r:id="rId136"/>
            </p:custDataLst>
          </p:nvPr>
        </p:nvCxnSpPr>
        <p:spPr bwMode="auto">
          <a:xfrm rot="5400000" flipH="1" flipV="1">
            <a:off x="5329585" y="4959029"/>
            <a:ext cx="469917" cy="8483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6" name="Elbow Connector 285"/>
          <p:cNvCxnSpPr>
            <a:stCxn id="283" idx="0"/>
            <a:endCxn id="282" idx="2"/>
          </p:cNvCxnSpPr>
          <p:nvPr>
            <p:custDataLst>
              <p:tags r:id="rId137"/>
            </p:custDataLst>
          </p:nvPr>
        </p:nvCxnSpPr>
        <p:spPr bwMode="auto">
          <a:xfrm rot="16200000" flipV="1">
            <a:off x="5414417" y="4959028"/>
            <a:ext cx="469917" cy="8483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7" name="Rectangle 286"/>
          <p:cNvSpPr/>
          <p:nvPr>
            <p:custDataLst>
              <p:tags r:id="rId138"/>
            </p:custDataLst>
          </p:nvPr>
        </p:nvSpPr>
        <p:spPr bwMode="auto">
          <a:xfrm>
            <a:off x="5180966" y="3722460"/>
            <a:ext cx="473264" cy="419924"/>
          </a:xfrm>
          <a:prstGeom prst="rect">
            <a:avLst/>
          </a:prstGeom>
          <a:solidFill>
            <a:srgbClr val="C000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SRT</a:t>
            </a:r>
            <a:endParaRPr lang="en-US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CC</a:t>
            </a:r>
            <a:endParaRPr lang="th-TH" sz="1400" b="1" dirty="0">
              <a:solidFill>
                <a:prstClr val="white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88" name="Elbow Connector 287"/>
          <p:cNvCxnSpPr>
            <a:stCxn id="282" idx="0"/>
            <a:endCxn id="287" idx="2"/>
          </p:cNvCxnSpPr>
          <p:nvPr>
            <p:custDataLst>
              <p:tags r:id="rId139"/>
            </p:custDataLst>
          </p:nvPr>
        </p:nvCxnSpPr>
        <p:spPr bwMode="auto">
          <a:xfrm rot="16200000" flipV="1">
            <a:off x="5336316" y="4223664"/>
            <a:ext cx="351924" cy="18936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9" name="Elbow Connector 288"/>
          <p:cNvCxnSpPr>
            <a:stCxn id="277" idx="0"/>
            <a:endCxn id="287" idx="2"/>
          </p:cNvCxnSpPr>
          <p:nvPr>
            <p:custDataLst>
              <p:tags r:id="rId140"/>
            </p:custDataLst>
          </p:nvPr>
        </p:nvCxnSpPr>
        <p:spPr bwMode="auto">
          <a:xfrm rot="5400000" flipH="1" flipV="1">
            <a:off x="5162418" y="4239129"/>
            <a:ext cx="351924" cy="15843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1" name="Rectangle 290"/>
          <p:cNvSpPr/>
          <p:nvPr>
            <p:custDataLst>
              <p:tags r:id="rId141"/>
            </p:custDataLst>
          </p:nvPr>
        </p:nvSpPr>
        <p:spPr bwMode="auto">
          <a:xfrm>
            <a:off x="2803758" y="3735944"/>
            <a:ext cx="473264" cy="41992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TOLL</a:t>
            </a:r>
            <a:endParaRPr lang="en-US" sz="14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CC</a:t>
            </a:r>
            <a:endParaRPr lang="th-TH" sz="14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97" name="Rounded Rectangle 296"/>
          <p:cNvSpPr/>
          <p:nvPr>
            <p:custDataLst>
              <p:tags r:id="rId142"/>
            </p:custDataLst>
          </p:nvPr>
        </p:nvSpPr>
        <p:spPr bwMode="auto">
          <a:xfrm>
            <a:off x="3247099" y="4494307"/>
            <a:ext cx="321807" cy="272177"/>
          </a:xfrm>
          <a:prstGeom prst="roundRect">
            <a:avLst/>
          </a:prstGeom>
          <a:solidFill>
            <a:srgbClr val="7030A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DOH</a:t>
            </a:r>
          </a:p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Plaza</a:t>
            </a:r>
            <a:endParaRPr lang="th-TH" sz="11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98" name="Rounded Rectangle 297"/>
          <p:cNvSpPr/>
          <p:nvPr>
            <p:custDataLst>
              <p:tags r:id="rId143"/>
            </p:custDataLst>
          </p:nvPr>
        </p:nvSpPr>
        <p:spPr bwMode="auto">
          <a:xfrm>
            <a:off x="2479455" y="4494307"/>
            <a:ext cx="321807" cy="272177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DMT</a:t>
            </a:r>
          </a:p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Plaza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02" name="Rounded Rectangle 301"/>
          <p:cNvSpPr/>
          <p:nvPr>
            <p:custDataLst>
              <p:tags r:id="rId144"/>
            </p:custDataLst>
          </p:nvPr>
        </p:nvSpPr>
        <p:spPr bwMode="auto">
          <a:xfrm>
            <a:off x="2878098" y="4494307"/>
            <a:ext cx="321807" cy="27217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EXAT</a:t>
            </a:r>
          </a:p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Plaza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08" name="Rounded Rectangle 307"/>
          <p:cNvSpPr/>
          <p:nvPr>
            <p:custDataLst>
              <p:tags r:id="rId145"/>
            </p:custDataLst>
          </p:nvPr>
        </p:nvSpPr>
        <p:spPr bwMode="auto">
          <a:xfrm>
            <a:off x="2662776" y="5235988"/>
            <a:ext cx="152146" cy="175399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09" name="Rounded Rectangle 308"/>
          <p:cNvSpPr/>
          <p:nvPr>
            <p:custDataLst>
              <p:tags r:id="rId146"/>
            </p:custDataLst>
          </p:nvPr>
        </p:nvSpPr>
        <p:spPr bwMode="auto">
          <a:xfrm>
            <a:off x="2493115" y="5235988"/>
            <a:ext cx="152146" cy="175399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10" name="Rounded Rectangle 309"/>
          <p:cNvSpPr/>
          <p:nvPr>
            <p:custDataLst>
              <p:tags r:id="rId147"/>
            </p:custDataLst>
          </p:nvPr>
        </p:nvSpPr>
        <p:spPr bwMode="auto">
          <a:xfrm>
            <a:off x="3068250" y="5235988"/>
            <a:ext cx="152146" cy="17539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11" name="Rounded Rectangle 310"/>
          <p:cNvSpPr/>
          <p:nvPr>
            <p:custDataLst>
              <p:tags r:id="rId148"/>
            </p:custDataLst>
          </p:nvPr>
        </p:nvSpPr>
        <p:spPr bwMode="auto">
          <a:xfrm>
            <a:off x="2898588" y="5235988"/>
            <a:ext cx="152146" cy="17539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12" name="Rounded Rectangle 311"/>
          <p:cNvSpPr/>
          <p:nvPr>
            <p:custDataLst>
              <p:tags r:id="rId149"/>
            </p:custDataLst>
          </p:nvPr>
        </p:nvSpPr>
        <p:spPr bwMode="auto">
          <a:xfrm>
            <a:off x="3416045" y="5235988"/>
            <a:ext cx="152146" cy="175399"/>
          </a:xfrm>
          <a:prstGeom prst="roundRect">
            <a:avLst/>
          </a:prstGeom>
          <a:solidFill>
            <a:srgbClr val="7030A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13" name="Rounded Rectangle 312"/>
          <p:cNvSpPr/>
          <p:nvPr>
            <p:custDataLst>
              <p:tags r:id="rId150"/>
            </p:custDataLst>
          </p:nvPr>
        </p:nvSpPr>
        <p:spPr bwMode="auto">
          <a:xfrm>
            <a:off x="3246385" y="5235988"/>
            <a:ext cx="152146" cy="175399"/>
          </a:xfrm>
          <a:prstGeom prst="roundRect">
            <a:avLst/>
          </a:prstGeom>
          <a:solidFill>
            <a:srgbClr val="7030A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314" name="Elbow Connector 313"/>
          <p:cNvCxnSpPr>
            <a:stCxn id="302" idx="0"/>
            <a:endCxn id="291" idx="2"/>
          </p:cNvCxnSpPr>
          <p:nvPr>
            <p:custDataLst>
              <p:tags r:id="rId151"/>
            </p:custDataLst>
          </p:nvPr>
        </p:nvCxnSpPr>
        <p:spPr bwMode="auto">
          <a:xfrm flipV="1">
            <a:off x="3039002" y="4155868"/>
            <a:ext cx="1389" cy="338439"/>
          </a:xfrm>
          <a:prstGeom prst="straightConnector1">
            <a:avLst/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7" name="Elbow Connector 316"/>
          <p:cNvCxnSpPr>
            <a:stCxn id="297" idx="0"/>
            <a:endCxn id="291" idx="2"/>
          </p:cNvCxnSpPr>
          <p:nvPr>
            <p:custDataLst>
              <p:tags r:id="rId152"/>
            </p:custDataLst>
          </p:nvPr>
        </p:nvCxnSpPr>
        <p:spPr bwMode="auto">
          <a:xfrm rot="16200000" flipV="1">
            <a:off x="3054979" y="4141281"/>
            <a:ext cx="338439" cy="367612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0" name="Elbow Connector 319"/>
          <p:cNvCxnSpPr>
            <a:stCxn id="298" idx="0"/>
            <a:endCxn id="291" idx="2"/>
          </p:cNvCxnSpPr>
          <p:nvPr>
            <p:custDataLst>
              <p:tags r:id="rId153"/>
            </p:custDataLst>
          </p:nvPr>
        </p:nvCxnSpPr>
        <p:spPr bwMode="auto">
          <a:xfrm rot="5400000" flipH="1" flipV="1">
            <a:off x="2671155" y="4125072"/>
            <a:ext cx="338439" cy="400032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3" name="Elbow Connector 322"/>
          <p:cNvCxnSpPr>
            <a:stCxn id="311" idx="0"/>
            <a:endCxn id="302" idx="2"/>
          </p:cNvCxnSpPr>
          <p:nvPr>
            <p:custDataLst>
              <p:tags r:id="rId154"/>
            </p:custDataLst>
          </p:nvPr>
        </p:nvCxnSpPr>
        <p:spPr bwMode="auto">
          <a:xfrm rot="5400000" flipH="1" flipV="1">
            <a:off x="2772080" y="4969066"/>
            <a:ext cx="469504" cy="64341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6" name="Elbow Connector 325"/>
          <p:cNvCxnSpPr>
            <a:stCxn id="310" idx="0"/>
            <a:endCxn id="302" idx="2"/>
          </p:cNvCxnSpPr>
          <p:nvPr>
            <p:custDataLst>
              <p:tags r:id="rId155"/>
            </p:custDataLst>
          </p:nvPr>
        </p:nvCxnSpPr>
        <p:spPr bwMode="auto">
          <a:xfrm rot="16200000" flipV="1">
            <a:off x="2856910" y="4948575"/>
            <a:ext cx="469504" cy="105321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9" name="Elbow Connector 328"/>
          <p:cNvCxnSpPr>
            <a:stCxn id="313" idx="0"/>
            <a:endCxn id="297" idx="2"/>
          </p:cNvCxnSpPr>
          <p:nvPr>
            <p:custDataLst>
              <p:tags r:id="rId156"/>
            </p:custDataLst>
          </p:nvPr>
        </p:nvCxnSpPr>
        <p:spPr bwMode="auto">
          <a:xfrm rot="5400000" flipH="1" flipV="1">
            <a:off x="3130478" y="4958464"/>
            <a:ext cx="469504" cy="85547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3" name="Elbow Connector 332"/>
          <p:cNvCxnSpPr>
            <a:stCxn id="312" idx="0"/>
            <a:endCxn id="297" idx="2"/>
          </p:cNvCxnSpPr>
          <p:nvPr>
            <p:custDataLst>
              <p:tags r:id="rId157"/>
            </p:custDataLst>
          </p:nvPr>
        </p:nvCxnSpPr>
        <p:spPr bwMode="auto">
          <a:xfrm rot="16200000" flipV="1">
            <a:off x="3215309" y="4959178"/>
            <a:ext cx="469504" cy="84114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6" name="Elbow Connector 335"/>
          <p:cNvCxnSpPr>
            <a:stCxn id="308" idx="0"/>
            <a:endCxn id="298" idx="2"/>
          </p:cNvCxnSpPr>
          <p:nvPr>
            <p:custDataLst>
              <p:tags r:id="rId158"/>
            </p:custDataLst>
          </p:nvPr>
        </p:nvCxnSpPr>
        <p:spPr bwMode="auto">
          <a:xfrm rot="16200000" flipV="1">
            <a:off x="2454853" y="4951990"/>
            <a:ext cx="469504" cy="98490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9" name="Elbow Connector 338"/>
          <p:cNvCxnSpPr>
            <a:stCxn id="309" idx="0"/>
            <a:endCxn id="298" idx="2"/>
          </p:cNvCxnSpPr>
          <p:nvPr>
            <p:custDataLst>
              <p:tags r:id="rId159"/>
            </p:custDataLst>
          </p:nvPr>
        </p:nvCxnSpPr>
        <p:spPr bwMode="auto">
          <a:xfrm rot="5400000" flipH="1" flipV="1">
            <a:off x="2370021" y="4965651"/>
            <a:ext cx="469504" cy="71170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5" name="Rectangle 344"/>
          <p:cNvSpPr/>
          <p:nvPr>
            <p:custDataLst>
              <p:tags r:id="rId160"/>
            </p:custDataLst>
          </p:nvPr>
        </p:nvSpPr>
        <p:spPr bwMode="auto">
          <a:xfrm>
            <a:off x="1752313" y="3735944"/>
            <a:ext cx="473264" cy="419924"/>
          </a:xfrm>
          <a:prstGeom prst="rect">
            <a:avLst/>
          </a:prstGeom>
          <a:solidFill>
            <a:srgbClr val="FFCC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TSC</a:t>
            </a:r>
            <a:endParaRPr lang="en-US" sz="1400" b="1" dirty="0">
              <a:latin typeface="Cordia New" pitchFamily="34" charset="-34"/>
              <a:cs typeface="Cordia New" pitchFamily="34" charset="-34"/>
            </a:endParaRP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latin typeface="Cordia New" pitchFamily="34" charset="-34"/>
                <a:cs typeface="Cordia New" pitchFamily="34" charset="-34"/>
              </a:rPr>
              <a:t>CC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46" name="Rectangle 345"/>
          <p:cNvSpPr/>
          <p:nvPr>
            <p:custDataLst>
              <p:tags r:id="rId161"/>
            </p:custDataLst>
          </p:nvPr>
        </p:nvSpPr>
        <p:spPr bwMode="auto">
          <a:xfrm>
            <a:off x="985978" y="3740583"/>
            <a:ext cx="473264" cy="41992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Retail</a:t>
            </a:r>
            <a:endParaRPr lang="en-US" sz="14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CC</a:t>
            </a:r>
            <a:endParaRPr lang="th-TH" sz="14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50" name="Rounded Rectangle 349"/>
          <p:cNvSpPr/>
          <p:nvPr>
            <p:custDataLst>
              <p:tags r:id="rId162"/>
            </p:custDataLst>
          </p:nvPr>
        </p:nvSpPr>
        <p:spPr bwMode="auto">
          <a:xfrm>
            <a:off x="2070360" y="4452135"/>
            <a:ext cx="321807" cy="272177"/>
          </a:xfrm>
          <a:prstGeom prst="roundRect">
            <a:avLst/>
          </a:prstGeom>
          <a:solidFill>
            <a:srgbClr val="FFCC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EXAT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51" name="Rounded Rectangle 350"/>
          <p:cNvSpPr/>
          <p:nvPr>
            <p:custDataLst>
              <p:tags r:id="rId163"/>
            </p:custDataLst>
          </p:nvPr>
        </p:nvSpPr>
        <p:spPr bwMode="auto">
          <a:xfrm>
            <a:off x="1671211" y="4452135"/>
            <a:ext cx="321807" cy="272177"/>
          </a:xfrm>
          <a:prstGeom prst="roundRect">
            <a:avLst/>
          </a:prstGeom>
          <a:solidFill>
            <a:srgbClr val="FF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latin typeface="Cordia New" pitchFamily="34" charset="-34"/>
                <a:cs typeface="Cordia New" pitchFamily="34" charset="-34"/>
              </a:rPr>
              <a:t>EXAT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52" name="Rounded Rectangle 351"/>
          <p:cNvSpPr/>
          <p:nvPr>
            <p:custDataLst>
              <p:tags r:id="rId164"/>
            </p:custDataLst>
          </p:nvPr>
        </p:nvSpPr>
        <p:spPr bwMode="auto">
          <a:xfrm>
            <a:off x="1619421" y="4494307"/>
            <a:ext cx="321807" cy="272177"/>
          </a:xfrm>
          <a:prstGeom prst="roundRect">
            <a:avLst/>
          </a:prstGeom>
          <a:solidFill>
            <a:srgbClr val="FF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7-11</a:t>
            </a:r>
          </a:p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Store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53" name="Rounded Rectangle 352"/>
          <p:cNvSpPr/>
          <p:nvPr>
            <p:custDataLst>
              <p:tags r:id="rId165"/>
            </p:custDataLst>
          </p:nvPr>
        </p:nvSpPr>
        <p:spPr bwMode="auto">
          <a:xfrm>
            <a:off x="2018065" y="4494307"/>
            <a:ext cx="321807" cy="272177"/>
          </a:xfrm>
          <a:prstGeom prst="roundRect">
            <a:avLst/>
          </a:prstGeom>
          <a:solidFill>
            <a:srgbClr val="FFCC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Non</a:t>
            </a:r>
          </a:p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7-11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54" name="Rounded Rectangle 353"/>
          <p:cNvSpPr/>
          <p:nvPr>
            <p:custDataLst>
              <p:tags r:id="rId166"/>
            </p:custDataLst>
          </p:nvPr>
        </p:nvSpPr>
        <p:spPr bwMode="auto">
          <a:xfrm>
            <a:off x="1802743" y="5235988"/>
            <a:ext cx="152146" cy="175399"/>
          </a:xfrm>
          <a:prstGeom prst="roundRect">
            <a:avLst/>
          </a:prstGeom>
          <a:solidFill>
            <a:srgbClr val="FF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smtClean="0">
                <a:latin typeface="Cordia New" pitchFamily="34" charset="-34"/>
                <a:cs typeface="Cordia New" pitchFamily="34" charset="-34"/>
              </a:rPr>
              <a:t>R3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55" name="Rounded Rectangle 354"/>
          <p:cNvSpPr/>
          <p:nvPr>
            <p:custDataLst>
              <p:tags r:id="rId167"/>
            </p:custDataLst>
          </p:nvPr>
        </p:nvSpPr>
        <p:spPr bwMode="auto">
          <a:xfrm>
            <a:off x="1615686" y="5235988"/>
            <a:ext cx="152146" cy="175399"/>
          </a:xfrm>
          <a:prstGeom prst="roundRect">
            <a:avLst/>
          </a:prstGeom>
          <a:solidFill>
            <a:srgbClr val="FF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56" name="Rounded Rectangle 355"/>
          <p:cNvSpPr/>
          <p:nvPr>
            <p:custDataLst>
              <p:tags r:id="rId168"/>
            </p:custDataLst>
          </p:nvPr>
        </p:nvSpPr>
        <p:spPr bwMode="auto">
          <a:xfrm>
            <a:off x="2215687" y="5235988"/>
            <a:ext cx="152146" cy="175399"/>
          </a:xfrm>
          <a:prstGeom prst="roundRect">
            <a:avLst/>
          </a:prstGeom>
          <a:solidFill>
            <a:srgbClr val="FFCC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smtClean="0">
                <a:latin typeface="Cordia New" pitchFamily="34" charset="-34"/>
                <a:cs typeface="Cordia New" pitchFamily="34" charset="-34"/>
              </a:rPr>
              <a:t>R3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57" name="Rounded Rectangle 356"/>
          <p:cNvSpPr/>
          <p:nvPr>
            <p:custDataLst>
              <p:tags r:id="rId169"/>
            </p:custDataLst>
          </p:nvPr>
        </p:nvSpPr>
        <p:spPr bwMode="auto">
          <a:xfrm>
            <a:off x="2020920" y="5235988"/>
            <a:ext cx="152146" cy="175399"/>
          </a:xfrm>
          <a:prstGeom prst="roundRect">
            <a:avLst/>
          </a:prstGeom>
          <a:solidFill>
            <a:srgbClr val="FFCC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358" name="Elbow Connector 357"/>
          <p:cNvCxnSpPr>
            <a:stCxn id="357" idx="0"/>
            <a:endCxn id="353" idx="2"/>
          </p:cNvCxnSpPr>
          <p:nvPr>
            <p:custDataLst>
              <p:tags r:id="rId170"/>
            </p:custDataLst>
          </p:nvPr>
        </p:nvCxnSpPr>
        <p:spPr bwMode="auto">
          <a:xfrm rot="5400000" flipH="1" flipV="1">
            <a:off x="1903228" y="4960249"/>
            <a:ext cx="469504" cy="81975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9" name="Elbow Connector 358"/>
          <p:cNvCxnSpPr>
            <a:stCxn id="356" idx="0"/>
            <a:endCxn id="353" idx="2"/>
          </p:cNvCxnSpPr>
          <p:nvPr>
            <p:custDataLst>
              <p:tags r:id="rId171"/>
            </p:custDataLst>
          </p:nvPr>
        </p:nvCxnSpPr>
        <p:spPr bwMode="auto">
          <a:xfrm rot="16200000" flipV="1">
            <a:off x="2000612" y="4944841"/>
            <a:ext cx="469504" cy="112791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0" name="Elbow Connector 359"/>
          <p:cNvCxnSpPr>
            <a:stCxn id="354" idx="0"/>
            <a:endCxn id="352" idx="2"/>
          </p:cNvCxnSpPr>
          <p:nvPr>
            <p:custDataLst>
              <p:tags r:id="rId172"/>
            </p:custDataLst>
          </p:nvPr>
        </p:nvCxnSpPr>
        <p:spPr bwMode="auto">
          <a:xfrm rot="16200000" flipV="1">
            <a:off x="1594819" y="4951990"/>
            <a:ext cx="469504" cy="98490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1" name="Elbow Connector 360"/>
          <p:cNvCxnSpPr>
            <a:stCxn id="355" idx="0"/>
            <a:endCxn id="352" idx="2"/>
          </p:cNvCxnSpPr>
          <p:nvPr>
            <p:custDataLst>
              <p:tags r:id="rId173"/>
            </p:custDataLst>
          </p:nvPr>
        </p:nvCxnSpPr>
        <p:spPr bwMode="auto">
          <a:xfrm rot="5400000" flipH="1" flipV="1">
            <a:off x="1501289" y="4956953"/>
            <a:ext cx="469504" cy="88567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2" name="Rounded Rectangle 361"/>
          <p:cNvSpPr/>
          <p:nvPr>
            <p:custDataLst>
              <p:tags r:id="rId174"/>
            </p:custDataLst>
          </p:nvPr>
        </p:nvSpPr>
        <p:spPr bwMode="auto">
          <a:xfrm>
            <a:off x="1106312" y="4452135"/>
            <a:ext cx="321807" cy="272177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latin typeface="Cordia New" pitchFamily="34" charset="-34"/>
                <a:cs typeface="Cordia New" pitchFamily="34" charset="-34"/>
              </a:rPr>
              <a:t>EXAT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63" name="Rounded Rectangle 362"/>
          <p:cNvSpPr/>
          <p:nvPr>
            <p:custDataLst>
              <p:tags r:id="rId175"/>
            </p:custDataLst>
          </p:nvPr>
        </p:nvSpPr>
        <p:spPr bwMode="auto">
          <a:xfrm>
            <a:off x="1054523" y="4494307"/>
            <a:ext cx="321807" cy="272177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6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latin typeface="Cordia New" pitchFamily="34" charset="-34"/>
                <a:cs typeface="Cordia New" pitchFamily="34" charset="-34"/>
              </a:rPr>
              <a:t>Retail</a:t>
            </a:r>
            <a:endParaRPr lang="th-TH" sz="11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64" name="Rounded Rectangle 363"/>
          <p:cNvSpPr/>
          <p:nvPr>
            <p:custDataLst>
              <p:tags r:id="rId176"/>
            </p:custDataLst>
          </p:nvPr>
        </p:nvSpPr>
        <p:spPr bwMode="auto">
          <a:xfrm>
            <a:off x="1230374" y="5235988"/>
            <a:ext cx="152146" cy="17539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65" name="Rounded Rectangle 364"/>
          <p:cNvSpPr/>
          <p:nvPr>
            <p:custDataLst>
              <p:tags r:id="rId177"/>
            </p:custDataLst>
          </p:nvPr>
        </p:nvSpPr>
        <p:spPr bwMode="auto">
          <a:xfrm>
            <a:off x="1032702" y="5235988"/>
            <a:ext cx="152146" cy="17539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366" name="Elbow Connector 365"/>
          <p:cNvCxnSpPr>
            <a:stCxn id="364" idx="0"/>
            <a:endCxn id="363" idx="2"/>
          </p:cNvCxnSpPr>
          <p:nvPr>
            <p:custDataLst>
              <p:tags r:id="rId178"/>
            </p:custDataLst>
          </p:nvPr>
        </p:nvCxnSpPr>
        <p:spPr bwMode="auto">
          <a:xfrm rot="16200000" flipV="1">
            <a:off x="1026185" y="4955726"/>
            <a:ext cx="469504" cy="91020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7" name="Elbow Connector 366"/>
          <p:cNvCxnSpPr>
            <a:stCxn id="365" idx="0"/>
            <a:endCxn id="363" idx="2"/>
          </p:cNvCxnSpPr>
          <p:nvPr>
            <p:custDataLst>
              <p:tags r:id="rId179"/>
            </p:custDataLst>
          </p:nvPr>
        </p:nvCxnSpPr>
        <p:spPr bwMode="auto">
          <a:xfrm rot="5400000" flipH="1" flipV="1">
            <a:off x="927349" y="4947910"/>
            <a:ext cx="469504" cy="106652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8" name="Elbow Connector 367"/>
          <p:cNvCxnSpPr>
            <a:stCxn id="353" idx="0"/>
            <a:endCxn id="345" idx="2"/>
          </p:cNvCxnSpPr>
          <p:nvPr>
            <p:custDataLst>
              <p:tags r:id="rId180"/>
            </p:custDataLst>
          </p:nvPr>
        </p:nvCxnSpPr>
        <p:spPr bwMode="auto">
          <a:xfrm rot="16200000" flipV="1">
            <a:off x="1914738" y="4230077"/>
            <a:ext cx="338439" cy="190023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1" name="Elbow Connector 370"/>
          <p:cNvCxnSpPr>
            <a:stCxn id="352" idx="0"/>
            <a:endCxn id="345" idx="2"/>
          </p:cNvCxnSpPr>
          <p:nvPr>
            <p:custDataLst>
              <p:tags r:id="rId181"/>
            </p:custDataLst>
          </p:nvPr>
        </p:nvCxnSpPr>
        <p:spPr bwMode="auto">
          <a:xfrm rot="5400000" flipH="1" flipV="1">
            <a:off x="1715417" y="4220778"/>
            <a:ext cx="338439" cy="208621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4" name="Elbow Connector 373"/>
          <p:cNvCxnSpPr>
            <a:stCxn id="363" idx="0"/>
            <a:endCxn id="346" idx="2"/>
          </p:cNvCxnSpPr>
          <p:nvPr>
            <p:custDataLst>
              <p:tags r:id="rId182"/>
            </p:custDataLst>
          </p:nvPr>
        </p:nvCxnSpPr>
        <p:spPr bwMode="auto">
          <a:xfrm flipV="1">
            <a:off x="1215427" y="4160507"/>
            <a:ext cx="7183" cy="333800"/>
          </a:xfrm>
          <a:prstGeom prst="straightConnector1">
            <a:avLst/>
          </a:prstGeom>
          <a:solidFill>
            <a:srgbClr val="00321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0" name="Rounded Rectangle 379"/>
          <p:cNvSpPr/>
          <p:nvPr>
            <p:custDataLst>
              <p:tags r:id="rId183"/>
            </p:custDataLst>
          </p:nvPr>
        </p:nvSpPr>
        <p:spPr bwMode="auto">
          <a:xfrm>
            <a:off x="6349692" y="3034734"/>
            <a:ext cx="692908" cy="419924"/>
          </a:xfrm>
          <a:prstGeom prst="roundRect">
            <a:avLst/>
          </a:prstGeom>
          <a:solidFill>
            <a:schemeClr val="accent1">
              <a:lumMod val="50000"/>
              <a:lumOff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MRTA</a:t>
            </a: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CH</a:t>
            </a:r>
            <a:endParaRPr lang="th-TH" sz="14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81" name="Rounded Rectangle 380"/>
          <p:cNvSpPr/>
          <p:nvPr>
            <p:custDataLst>
              <p:tags r:id="rId184"/>
            </p:custDataLst>
          </p:nvPr>
        </p:nvSpPr>
        <p:spPr bwMode="auto">
          <a:xfrm>
            <a:off x="7837992" y="3034734"/>
            <a:ext cx="692908" cy="419924"/>
          </a:xfrm>
          <a:prstGeom prst="roundRect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BSS</a:t>
            </a: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CH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83" name="Rounded Rectangle 382"/>
          <p:cNvSpPr/>
          <p:nvPr>
            <p:custDataLst>
              <p:tags r:id="rId185"/>
            </p:custDataLst>
          </p:nvPr>
        </p:nvSpPr>
        <p:spPr bwMode="auto">
          <a:xfrm>
            <a:off x="3662685" y="1955239"/>
            <a:ext cx="2590223" cy="530342"/>
          </a:xfrm>
          <a:prstGeom prst="roundRect">
            <a:avLst/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CCH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84" name="Pentagon 383"/>
          <p:cNvSpPr/>
          <p:nvPr>
            <p:custDataLst>
              <p:tags r:id="rId186"/>
            </p:custDataLst>
          </p:nvPr>
        </p:nvSpPr>
        <p:spPr bwMode="auto">
          <a:xfrm>
            <a:off x="35496" y="3735878"/>
            <a:ext cx="820205" cy="419924"/>
          </a:xfrm>
          <a:prstGeom prst="homePlate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Central</a:t>
            </a: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Computer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85" name="Pentagon 384"/>
          <p:cNvSpPr/>
          <p:nvPr>
            <p:custDataLst>
              <p:tags r:id="rId187"/>
            </p:custDataLst>
          </p:nvPr>
        </p:nvSpPr>
        <p:spPr bwMode="auto">
          <a:xfrm>
            <a:off x="35495" y="4366358"/>
            <a:ext cx="820205" cy="419924"/>
          </a:xfrm>
          <a:prstGeom prst="homePlate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Station</a:t>
            </a: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Computer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86" name="Pentagon 385"/>
          <p:cNvSpPr/>
          <p:nvPr>
            <p:custDataLst>
              <p:tags r:id="rId188"/>
            </p:custDataLst>
          </p:nvPr>
        </p:nvSpPr>
        <p:spPr bwMode="auto">
          <a:xfrm>
            <a:off x="35494" y="5029415"/>
            <a:ext cx="820205" cy="419924"/>
          </a:xfrm>
          <a:prstGeom prst="homePlate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Reader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87" name="Pentagon 386"/>
          <p:cNvSpPr/>
          <p:nvPr>
            <p:custDataLst>
              <p:tags r:id="rId189"/>
            </p:custDataLst>
          </p:nvPr>
        </p:nvSpPr>
        <p:spPr bwMode="auto">
          <a:xfrm>
            <a:off x="35496" y="3034734"/>
            <a:ext cx="820205" cy="419924"/>
          </a:xfrm>
          <a:prstGeom prst="homePlate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CH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389" name="Elbow Connector 388"/>
          <p:cNvCxnSpPr>
            <a:stCxn id="242" idx="0"/>
            <a:endCxn id="381" idx="2"/>
          </p:cNvCxnSpPr>
          <p:nvPr>
            <p:custDataLst>
              <p:tags r:id="rId190"/>
            </p:custDataLst>
          </p:nvPr>
        </p:nvCxnSpPr>
        <p:spPr bwMode="auto">
          <a:xfrm rot="16200000" flipV="1">
            <a:off x="8268594" y="3370510"/>
            <a:ext cx="267802" cy="436098"/>
          </a:xfrm>
          <a:prstGeom prst="bentConnector3">
            <a:avLst/>
          </a:prstGeom>
          <a:solidFill>
            <a:srgbClr val="003217"/>
          </a:solidFill>
          <a:ln w="19050" cap="flat" cmpd="sng" algn="ctr">
            <a:solidFill>
              <a:srgbClr val="003217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cxnSp>
        <p:nvCxnSpPr>
          <p:cNvPr id="392" name="Elbow Connector 391"/>
          <p:cNvCxnSpPr>
            <a:stCxn id="229" idx="0"/>
            <a:endCxn id="381" idx="2"/>
          </p:cNvCxnSpPr>
          <p:nvPr>
            <p:custDataLst>
              <p:tags r:id="rId191"/>
            </p:custDataLst>
          </p:nvPr>
        </p:nvCxnSpPr>
        <p:spPr bwMode="auto">
          <a:xfrm rot="5400000" flipH="1" flipV="1">
            <a:off x="7874207" y="3412222"/>
            <a:ext cx="267802" cy="352675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19050" cap="flat" cmpd="sng" algn="ctr">
            <a:solidFill>
              <a:srgbClr val="003217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cxnSp>
        <p:nvCxnSpPr>
          <p:cNvPr id="395" name="Elbow Connector 394"/>
          <p:cNvCxnSpPr>
            <a:stCxn id="215" idx="0"/>
            <a:endCxn id="380" idx="2"/>
          </p:cNvCxnSpPr>
          <p:nvPr>
            <p:custDataLst>
              <p:tags r:id="rId192"/>
            </p:custDataLst>
          </p:nvPr>
        </p:nvCxnSpPr>
        <p:spPr bwMode="auto">
          <a:xfrm rot="16200000" flipV="1">
            <a:off x="6757655" y="3393149"/>
            <a:ext cx="267802" cy="390819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19050" cap="flat" cmpd="sng" algn="ctr">
            <a:solidFill>
              <a:schemeClr val="accent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cxnSp>
        <p:nvCxnSpPr>
          <p:cNvPr id="398" name="Elbow Connector 397"/>
          <p:cNvCxnSpPr>
            <a:stCxn id="121" idx="0"/>
            <a:endCxn id="380" idx="2"/>
          </p:cNvCxnSpPr>
          <p:nvPr>
            <p:custDataLst>
              <p:tags r:id="rId193"/>
            </p:custDataLst>
          </p:nvPr>
        </p:nvCxnSpPr>
        <p:spPr bwMode="auto">
          <a:xfrm rot="5400000" flipH="1" flipV="1">
            <a:off x="6374423" y="3400737"/>
            <a:ext cx="267802" cy="375644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19050" cap="flat" cmpd="sng" algn="ctr">
            <a:solidFill>
              <a:schemeClr val="accent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cxnSp>
        <p:nvCxnSpPr>
          <p:cNvPr id="404" name="Elbow Connector 403"/>
          <p:cNvCxnSpPr>
            <a:stCxn id="215" idx="3"/>
            <a:endCxn id="381" idx="1"/>
          </p:cNvCxnSpPr>
          <p:nvPr>
            <p:custDataLst>
              <p:tags r:id="rId194"/>
            </p:custDataLst>
          </p:nvPr>
        </p:nvCxnSpPr>
        <p:spPr bwMode="auto">
          <a:xfrm flipV="1">
            <a:off x="7323597" y="3244696"/>
            <a:ext cx="514395" cy="687726"/>
          </a:xfrm>
          <a:prstGeom prst="bentConnector3">
            <a:avLst>
              <a:gd name="adj1" fmla="val 30743"/>
            </a:avLst>
          </a:prstGeom>
          <a:solidFill>
            <a:srgbClr val="003217"/>
          </a:solidFill>
          <a:ln w="12700" cap="flat" cmpd="sng" algn="ctr">
            <a:solidFill>
              <a:srgbClr val="003217"/>
            </a:solidFill>
            <a:prstDash val="sysDash"/>
            <a:round/>
            <a:headEnd type="none" w="med" len="med"/>
            <a:tailEnd type="oval" w="med" len="med"/>
          </a:ln>
          <a:effectLst/>
        </p:spPr>
      </p:cxnSp>
      <p:cxnSp>
        <p:nvCxnSpPr>
          <p:cNvPr id="420" name="Elbow Connector 419"/>
          <p:cNvCxnSpPr>
            <a:stCxn id="381" idx="0"/>
            <a:endCxn id="432" idx="2"/>
          </p:cNvCxnSpPr>
          <p:nvPr>
            <p:custDataLst>
              <p:tags r:id="rId195"/>
            </p:custDataLst>
          </p:nvPr>
        </p:nvCxnSpPr>
        <p:spPr bwMode="auto">
          <a:xfrm rot="16200000" flipV="1">
            <a:off x="6911281" y="1761568"/>
            <a:ext cx="475379" cy="2070953"/>
          </a:xfrm>
          <a:prstGeom prst="bentConnector3">
            <a:avLst>
              <a:gd name="adj1" fmla="val 69235"/>
            </a:avLst>
          </a:prstGeom>
          <a:solidFill>
            <a:srgbClr val="003217"/>
          </a:solidFill>
          <a:ln w="19050" cap="flat" cmpd="sng" algn="ctr">
            <a:solidFill>
              <a:srgbClr val="003217"/>
            </a:solidFill>
            <a:prstDash val="sysDash"/>
            <a:round/>
            <a:headEnd type="none" w="med" len="med"/>
            <a:tailEnd type="oval" w="med" len="med"/>
          </a:ln>
          <a:effectLst/>
        </p:spPr>
      </p:cxnSp>
      <p:sp>
        <p:nvSpPr>
          <p:cNvPr id="432" name="Rectangle 431"/>
          <p:cNvSpPr/>
          <p:nvPr>
            <p:custDataLst>
              <p:tags r:id="rId196"/>
            </p:custDataLst>
          </p:nvPr>
        </p:nvSpPr>
        <p:spPr bwMode="auto">
          <a:xfrm>
            <a:off x="6014651" y="2411806"/>
            <a:ext cx="197683" cy="1475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35" name="Rectangle 434"/>
          <p:cNvSpPr/>
          <p:nvPr>
            <p:custDataLst>
              <p:tags r:id="rId197"/>
            </p:custDataLst>
          </p:nvPr>
        </p:nvSpPr>
        <p:spPr bwMode="auto">
          <a:xfrm>
            <a:off x="5635334" y="2411806"/>
            <a:ext cx="197683" cy="1475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437" name="Elbow Connector 436"/>
          <p:cNvCxnSpPr>
            <a:stCxn id="380" idx="0"/>
            <a:endCxn id="435" idx="2"/>
          </p:cNvCxnSpPr>
          <p:nvPr>
            <p:custDataLst>
              <p:tags r:id="rId198"/>
            </p:custDataLst>
          </p:nvPr>
        </p:nvCxnSpPr>
        <p:spPr bwMode="auto">
          <a:xfrm rot="16200000" flipV="1">
            <a:off x="5977472" y="2316060"/>
            <a:ext cx="475379" cy="961970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19050" cap="flat" cmpd="sng" algn="ctr">
            <a:solidFill>
              <a:schemeClr val="accent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442" name="Rectangle 441"/>
          <p:cNvSpPr/>
          <p:nvPr>
            <p:custDataLst>
              <p:tags r:id="rId199"/>
            </p:custDataLst>
          </p:nvPr>
        </p:nvSpPr>
        <p:spPr bwMode="auto">
          <a:xfrm>
            <a:off x="5313169" y="2411806"/>
            <a:ext cx="197683" cy="1475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443" name="Elbow Connector 442"/>
          <p:cNvCxnSpPr>
            <a:stCxn id="287" idx="0"/>
            <a:endCxn id="442" idx="2"/>
          </p:cNvCxnSpPr>
          <p:nvPr>
            <p:custDataLst>
              <p:tags r:id="rId200"/>
            </p:custDataLst>
          </p:nvPr>
        </p:nvCxnSpPr>
        <p:spPr bwMode="auto">
          <a:xfrm flipH="1" flipV="1">
            <a:off x="5412011" y="2559355"/>
            <a:ext cx="5587" cy="1163105"/>
          </a:xfrm>
          <a:prstGeom prst="straightConnector1">
            <a:avLst/>
          </a:prstGeom>
          <a:solidFill>
            <a:srgbClr val="003217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447" name="Rectangle 446"/>
          <p:cNvSpPr/>
          <p:nvPr>
            <p:custDataLst>
              <p:tags r:id="rId201"/>
            </p:custDataLst>
          </p:nvPr>
        </p:nvSpPr>
        <p:spPr bwMode="auto">
          <a:xfrm>
            <a:off x="4876704" y="2411806"/>
            <a:ext cx="197683" cy="1475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448" name="Elbow Connector 447"/>
          <p:cNvCxnSpPr>
            <a:stCxn id="256" idx="0"/>
            <a:endCxn id="447" idx="2"/>
          </p:cNvCxnSpPr>
          <p:nvPr>
            <p:custDataLst>
              <p:tags r:id="rId202"/>
            </p:custDataLst>
          </p:nvPr>
        </p:nvCxnSpPr>
        <p:spPr bwMode="auto">
          <a:xfrm rot="5400000" flipH="1" flipV="1">
            <a:off x="4241687" y="2988601"/>
            <a:ext cx="1163105" cy="304614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cxnSp>
        <p:nvCxnSpPr>
          <p:cNvPr id="451" name="Elbow Connector 450"/>
          <p:cNvCxnSpPr>
            <a:stCxn id="291" idx="0"/>
            <a:endCxn id="454" idx="2"/>
          </p:cNvCxnSpPr>
          <p:nvPr>
            <p:custDataLst>
              <p:tags r:id="rId203"/>
            </p:custDataLst>
          </p:nvPr>
        </p:nvCxnSpPr>
        <p:spPr bwMode="auto">
          <a:xfrm rot="5400000" flipH="1" flipV="1">
            <a:off x="3230016" y="2369730"/>
            <a:ext cx="1176589" cy="1555841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19050" cap="flat" cmpd="sng" algn="ctr">
            <a:solidFill>
              <a:srgbClr val="7030A0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454" name="Rectangle 453"/>
          <p:cNvSpPr/>
          <p:nvPr>
            <p:custDataLst>
              <p:tags r:id="rId204"/>
            </p:custDataLst>
          </p:nvPr>
        </p:nvSpPr>
        <p:spPr bwMode="auto">
          <a:xfrm>
            <a:off x="4497389" y="2411806"/>
            <a:ext cx="197683" cy="1475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58" name="Rectangle 457"/>
          <p:cNvSpPr/>
          <p:nvPr>
            <p:custDataLst>
              <p:tags r:id="rId205"/>
            </p:custDataLst>
          </p:nvPr>
        </p:nvSpPr>
        <p:spPr bwMode="auto">
          <a:xfrm>
            <a:off x="4118074" y="2411806"/>
            <a:ext cx="197683" cy="1475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459" name="Elbow Connector 458"/>
          <p:cNvCxnSpPr>
            <a:stCxn id="477" idx="0"/>
            <a:endCxn id="458" idx="2"/>
          </p:cNvCxnSpPr>
          <p:nvPr>
            <p:custDataLst>
              <p:tags r:id="rId206"/>
            </p:custDataLst>
          </p:nvPr>
        </p:nvCxnSpPr>
        <p:spPr bwMode="auto">
          <a:xfrm rot="5400000" flipH="1" flipV="1">
            <a:off x="2864569" y="1682388"/>
            <a:ext cx="475379" cy="2229315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19050" cap="flat" cmpd="sng" algn="ctr">
            <a:solidFill>
              <a:srgbClr val="FF99FF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465" name="Rectangle 464"/>
          <p:cNvSpPr/>
          <p:nvPr>
            <p:custDataLst>
              <p:tags r:id="rId207"/>
            </p:custDataLst>
          </p:nvPr>
        </p:nvSpPr>
        <p:spPr bwMode="auto">
          <a:xfrm>
            <a:off x="3738759" y="2411806"/>
            <a:ext cx="197683" cy="1475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466" name="Elbow Connector 465"/>
          <p:cNvCxnSpPr>
            <a:stCxn id="346" idx="0"/>
            <a:endCxn id="465" idx="2"/>
          </p:cNvCxnSpPr>
          <p:nvPr>
            <p:custDataLst>
              <p:tags r:id="rId208"/>
            </p:custDataLst>
          </p:nvPr>
        </p:nvCxnSpPr>
        <p:spPr bwMode="auto">
          <a:xfrm rot="5400000" flipH="1" flipV="1">
            <a:off x="1939491" y="1842474"/>
            <a:ext cx="1181228" cy="2614991"/>
          </a:xfrm>
          <a:prstGeom prst="bentConnector3">
            <a:avLst>
              <a:gd name="adj1" fmla="val 84674"/>
            </a:avLst>
          </a:prstGeom>
          <a:solidFill>
            <a:srgbClr val="003217"/>
          </a:solidFill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477" name="Rounded Rectangle 476"/>
          <p:cNvSpPr/>
          <p:nvPr>
            <p:custDataLst>
              <p:tags r:id="rId209"/>
            </p:custDataLst>
          </p:nvPr>
        </p:nvSpPr>
        <p:spPr bwMode="auto">
          <a:xfrm>
            <a:off x="1672643" y="3034734"/>
            <a:ext cx="629916" cy="419924"/>
          </a:xfrm>
          <a:prstGeom prst="roundRect">
            <a:avLst/>
          </a:prstGeom>
          <a:solidFill>
            <a:srgbClr val="FF99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latin typeface="Cordia New" pitchFamily="34" charset="-34"/>
                <a:cs typeface="Cordia New" pitchFamily="34" charset="-34"/>
              </a:rPr>
              <a:t>TSC</a:t>
            </a: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latin typeface="Cordia New" pitchFamily="34" charset="-34"/>
                <a:cs typeface="Cordia New" pitchFamily="34" charset="-34"/>
              </a:rPr>
              <a:t>CH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80" name="Pentagon 479"/>
          <p:cNvSpPr/>
          <p:nvPr>
            <p:custDataLst>
              <p:tags r:id="rId210"/>
            </p:custDataLst>
          </p:nvPr>
        </p:nvSpPr>
        <p:spPr bwMode="auto">
          <a:xfrm>
            <a:off x="35496" y="2139432"/>
            <a:ext cx="820205" cy="419924"/>
          </a:xfrm>
          <a:prstGeom prst="homePlate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CCH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482" name="Elbow Connector 481"/>
          <p:cNvCxnSpPr>
            <a:stCxn id="345" idx="0"/>
            <a:endCxn id="477" idx="2"/>
          </p:cNvCxnSpPr>
          <p:nvPr>
            <p:custDataLst>
              <p:tags r:id="rId211"/>
            </p:custDataLst>
          </p:nvPr>
        </p:nvCxnSpPr>
        <p:spPr bwMode="auto">
          <a:xfrm rot="16200000" flipV="1">
            <a:off x="1847630" y="3594629"/>
            <a:ext cx="281286" cy="1344"/>
          </a:xfrm>
          <a:prstGeom prst="bentConnector3">
            <a:avLst>
              <a:gd name="adj1" fmla="val 50000"/>
            </a:avLst>
          </a:prstGeom>
          <a:solidFill>
            <a:srgbClr val="003217"/>
          </a:solidFill>
          <a:ln w="19050" cap="flat" cmpd="sng" algn="ctr">
            <a:solidFill>
              <a:srgbClr val="FF99FF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cxnSp>
        <p:nvCxnSpPr>
          <p:cNvPr id="485" name="Elbow Connector 484"/>
          <p:cNvCxnSpPr>
            <a:stCxn id="298" idx="1"/>
            <a:endCxn id="477" idx="3"/>
          </p:cNvCxnSpPr>
          <p:nvPr>
            <p:custDataLst>
              <p:tags r:id="rId212"/>
            </p:custDataLst>
          </p:nvPr>
        </p:nvCxnSpPr>
        <p:spPr bwMode="auto">
          <a:xfrm rot="10800000">
            <a:off x="2302559" y="3244696"/>
            <a:ext cx="176896" cy="1385700"/>
          </a:xfrm>
          <a:prstGeom prst="bentConnector3">
            <a:avLst>
              <a:gd name="adj1" fmla="val -2769"/>
            </a:avLst>
          </a:prstGeom>
          <a:solidFill>
            <a:srgbClr val="003217"/>
          </a:solidFill>
          <a:ln w="19050" cap="flat" cmpd="sng" algn="ctr">
            <a:solidFill>
              <a:srgbClr val="FF99FF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503" name="Rounded Rectangle 502"/>
          <p:cNvSpPr/>
          <p:nvPr>
            <p:custDataLst>
              <p:tags r:id="rId213"/>
            </p:custDataLst>
          </p:nvPr>
        </p:nvSpPr>
        <p:spPr bwMode="auto">
          <a:xfrm>
            <a:off x="2103903" y="1383671"/>
            <a:ext cx="762199" cy="395587"/>
          </a:xfrm>
          <a:prstGeom prst="roundRect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502" name="Rounded Rectangle 501"/>
          <p:cNvSpPr/>
          <p:nvPr>
            <p:custDataLst>
              <p:tags r:id="rId214"/>
            </p:custDataLst>
          </p:nvPr>
        </p:nvSpPr>
        <p:spPr bwMode="auto">
          <a:xfrm>
            <a:off x="2043325" y="1428654"/>
            <a:ext cx="762199" cy="395587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z="14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95" name="Rounded Rectangle 494"/>
          <p:cNvSpPr/>
          <p:nvPr>
            <p:custDataLst>
              <p:tags r:id="rId215"/>
            </p:custDataLst>
          </p:nvPr>
        </p:nvSpPr>
        <p:spPr bwMode="auto">
          <a:xfrm>
            <a:off x="3635896" y="1263711"/>
            <a:ext cx="2590223" cy="61952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t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CTO Ticket Issuer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96" name="Pentagon 495"/>
          <p:cNvSpPr/>
          <p:nvPr>
            <p:custDataLst>
              <p:tags r:id="rId216"/>
            </p:custDataLst>
          </p:nvPr>
        </p:nvSpPr>
        <p:spPr bwMode="auto">
          <a:xfrm>
            <a:off x="35496" y="1365862"/>
            <a:ext cx="820205" cy="395587"/>
          </a:xfrm>
          <a:prstGeom prst="homePlate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Ticket</a:t>
            </a:r>
          </a:p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Issuer</a:t>
            </a:r>
          </a:p>
        </p:txBody>
      </p:sp>
      <p:sp>
        <p:nvSpPr>
          <p:cNvPr id="497" name="Flowchart: Magnetic Disk 496"/>
          <p:cNvSpPr/>
          <p:nvPr>
            <p:custDataLst>
              <p:tags r:id="rId217"/>
            </p:custDataLst>
          </p:nvPr>
        </p:nvSpPr>
        <p:spPr bwMode="auto">
          <a:xfrm>
            <a:off x="4604510" y="1511030"/>
            <a:ext cx="687570" cy="343120"/>
          </a:xfrm>
          <a:prstGeom prst="flowChartMagneticDisk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200" b="1" dirty="0" smtClean="0">
                <a:latin typeface="Cordia New" pitchFamily="34" charset="-34"/>
                <a:cs typeface="Cordia New" pitchFamily="34" charset="-34"/>
              </a:rPr>
              <a:t>KMS</a:t>
            </a:r>
            <a:endParaRPr lang="th-TH" sz="1200" b="1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501" name="Rounded Rectangle 500"/>
          <p:cNvSpPr/>
          <p:nvPr>
            <p:custDataLst>
              <p:tags r:id="rId218"/>
            </p:custDataLst>
          </p:nvPr>
        </p:nvSpPr>
        <p:spPr bwMode="auto">
          <a:xfrm>
            <a:off x="1960797" y="1487029"/>
            <a:ext cx="762199" cy="395587"/>
          </a:xfrm>
          <a:prstGeom prst="roundRect">
            <a:avLst/>
          </a:prstGeom>
          <a:solidFill>
            <a:schemeClr val="accent1">
              <a:lumMod val="50000"/>
              <a:lumOff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Card Issuers</a:t>
            </a:r>
          </a:p>
        </p:txBody>
      </p:sp>
      <p:cxnSp>
        <p:nvCxnSpPr>
          <p:cNvPr id="504" name="Elbow Connector 170"/>
          <p:cNvCxnSpPr>
            <a:stCxn id="497" idx="2"/>
            <a:endCxn id="501" idx="3"/>
          </p:cNvCxnSpPr>
          <p:nvPr>
            <p:custDataLst>
              <p:tags r:id="rId219"/>
            </p:custDataLst>
          </p:nvPr>
        </p:nvCxnSpPr>
        <p:spPr bwMode="auto">
          <a:xfrm flipH="1">
            <a:off x="2722996" y="1682590"/>
            <a:ext cx="1881514" cy="223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0" name="Rounded Rectangle 509"/>
          <p:cNvSpPr/>
          <p:nvPr>
            <p:custDataLst>
              <p:tags r:id="rId220"/>
            </p:custDataLst>
          </p:nvPr>
        </p:nvSpPr>
        <p:spPr bwMode="auto">
          <a:xfrm>
            <a:off x="6660232" y="1326723"/>
            <a:ext cx="1184302" cy="56576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t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BSS Issuer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512" name="Flowchart: Magnetic Disk 511"/>
          <p:cNvSpPr/>
          <p:nvPr>
            <p:custDataLst>
              <p:tags r:id="rId221"/>
            </p:custDataLst>
          </p:nvPr>
        </p:nvSpPr>
        <p:spPr bwMode="auto">
          <a:xfrm>
            <a:off x="6920350" y="1554677"/>
            <a:ext cx="687570" cy="257791"/>
          </a:xfrm>
          <a:prstGeom prst="flowChartMagneticDisk">
            <a:avLst/>
          </a:prstGeom>
          <a:solidFill>
            <a:srgbClr val="6BA42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KMS</a:t>
            </a:r>
            <a:endParaRPr lang="th-TH" sz="1200" b="1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513" name="Rectangle 512"/>
          <p:cNvSpPr/>
          <p:nvPr>
            <p:custDataLst>
              <p:tags r:id="rId222"/>
            </p:custDataLst>
          </p:nvPr>
        </p:nvSpPr>
        <p:spPr bwMode="auto">
          <a:xfrm>
            <a:off x="3467673" y="1244377"/>
            <a:ext cx="3013785" cy="1435111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ts val="1700"/>
              </a:lnSpc>
              <a:spcBef>
                <a:spcPct val="0"/>
              </a:spcBef>
              <a:spcAft>
                <a:spcPct val="0"/>
              </a:spcAft>
            </a:pPr>
            <a:endParaRPr lang="th-TH" sz="1200" b="1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527" name="Elbow Connector 170"/>
          <p:cNvCxnSpPr>
            <a:stCxn id="512" idx="2"/>
            <a:endCxn id="497" idx="4"/>
          </p:cNvCxnSpPr>
          <p:nvPr>
            <p:custDataLst>
              <p:tags r:id="rId223"/>
            </p:custDataLst>
          </p:nvPr>
        </p:nvCxnSpPr>
        <p:spPr bwMode="auto">
          <a:xfrm flipH="1" flipV="1">
            <a:off x="5292080" y="1682590"/>
            <a:ext cx="1628270" cy="98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36" name="Elbow Connector 170"/>
          <p:cNvCxnSpPr/>
          <p:nvPr>
            <p:custDataLst>
              <p:tags r:id="rId224"/>
            </p:custDataLst>
          </p:nvPr>
        </p:nvCxnSpPr>
        <p:spPr bwMode="auto">
          <a:xfrm flipH="1" flipV="1">
            <a:off x="3605479" y="5745826"/>
            <a:ext cx="0" cy="44628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7" name="Elbow Connector 170"/>
          <p:cNvCxnSpPr/>
          <p:nvPr>
            <p:custDataLst>
              <p:tags r:id="rId225"/>
            </p:custDataLst>
          </p:nvPr>
        </p:nvCxnSpPr>
        <p:spPr bwMode="auto">
          <a:xfrm flipH="1" flipV="1">
            <a:off x="5074387" y="5745826"/>
            <a:ext cx="0" cy="44628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8" name="Elbow Connector 170"/>
          <p:cNvCxnSpPr/>
          <p:nvPr>
            <p:custDataLst>
              <p:tags r:id="rId226"/>
            </p:custDataLst>
          </p:nvPr>
        </p:nvCxnSpPr>
        <p:spPr bwMode="auto">
          <a:xfrm flipH="1" flipV="1">
            <a:off x="8993669" y="5745826"/>
            <a:ext cx="0" cy="44628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9" name="Rectangle 538"/>
          <p:cNvSpPr/>
          <p:nvPr>
            <p:custDataLst>
              <p:tags r:id="rId227"/>
            </p:custDataLst>
          </p:nvPr>
        </p:nvSpPr>
        <p:spPr bwMode="auto">
          <a:xfrm>
            <a:off x="7467100" y="5454550"/>
            <a:ext cx="417268" cy="12696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 smtClean="0">
                <a:latin typeface="Cordia New" pitchFamily="34" charset="-34"/>
                <a:cs typeface="Cordia New" pitchFamily="34" charset="-34"/>
              </a:rPr>
              <a:t>BTS</a:t>
            </a:r>
            <a:endParaRPr lang="th-TH" sz="1200" b="1" i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540" name="Rectangle 539"/>
          <p:cNvSpPr/>
          <p:nvPr>
            <p:custDataLst>
              <p:tags r:id="rId228"/>
            </p:custDataLst>
          </p:nvPr>
        </p:nvSpPr>
        <p:spPr bwMode="auto">
          <a:xfrm>
            <a:off x="7815710" y="5454550"/>
            <a:ext cx="417268" cy="12696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 smtClean="0">
                <a:latin typeface="Cordia New" pitchFamily="34" charset="-34"/>
                <a:cs typeface="Cordia New" pitchFamily="34" charset="-34"/>
              </a:rPr>
              <a:t>BMA.</a:t>
            </a:r>
            <a:endParaRPr lang="th-TH" sz="1200" b="1" i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45" name="Rounded Rectangle 244"/>
          <p:cNvSpPr/>
          <p:nvPr>
            <p:custDataLst>
              <p:tags r:id="rId229"/>
            </p:custDataLst>
          </p:nvPr>
        </p:nvSpPr>
        <p:spPr bwMode="auto">
          <a:xfrm>
            <a:off x="2506096" y="6381328"/>
            <a:ext cx="152146" cy="175399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rgbClr val="003217"/>
                </a:solidFill>
                <a:latin typeface="Cordia New" pitchFamily="34" charset="-34"/>
                <a:cs typeface="Cordia New" pitchFamily="34" charset="-34"/>
              </a:rPr>
              <a:t>R1</a:t>
            </a:r>
            <a:endParaRPr lang="th-TH" sz="900" b="1" dirty="0">
              <a:solidFill>
                <a:srgbClr val="003217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" name="TextBox 3"/>
          <p:cNvSpPr txBox="1"/>
          <p:nvPr>
            <p:custDataLst>
              <p:tags r:id="rId230"/>
            </p:custDataLst>
          </p:nvPr>
        </p:nvSpPr>
        <p:spPr>
          <a:xfrm>
            <a:off x="2657163" y="6332483"/>
            <a:ext cx="1737133" cy="26486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200" dirty="0" smtClean="0">
                <a:latin typeface="Cordia New" pitchFamily="34" charset="-34"/>
                <a:cs typeface="Cordia New" pitchFamily="34" charset="-34"/>
              </a:rPr>
              <a:t>Reader (SAM) for national card standard</a:t>
            </a:r>
            <a:endParaRPr lang="th-TH" sz="12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59" name="Rounded Rectangle 258"/>
          <p:cNvSpPr/>
          <p:nvPr>
            <p:custDataLst>
              <p:tags r:id="rId231"/>
            </p:custDataLst>
          </p:nvPr>
        </p:nvSpPr>
        <p:spPr bwMode="auto">
          <a:xfrm>
            <a:off x="2506096" y="6574189"/>
            <a:ext cx="152146" cy="175399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rgbClr val="003217"/>
                </a:solidFill>
                <a:latin typeface="Cordia New" pitchFamily="34" charset="-34"/>
                <a:cs typeface="Cordia New" pitchFamily="34" charset="-34"/>
              </a:rPr>
              <a:t>R2</a:t>
            </a:r>
            <a:endParaRPr lang="th-TH" sz="900" b="1" dirty="0">
              <a:solidFill>
                <a:srgbClr val="003217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60" name="TextBox 259"/>
          <p:cNvSpPr txBox="1"/>
          <p:nvPr>
            <p:custDataLst>
              <p:tags r:id="rId232"/>
            </p:custDataLst>
          </p:nvPr>
        </p:nvSpPr>
        <p:spPr>
          <a:xfrm>
            <a:off x="2657162" y="6525344"/>
            <a:ext cx="2300633" cy="26486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200" dirty="0" smtClean="0">
                <a:latin typeface="Cordia New" pitchFamily="34" charset="-34"/>
                <a:cs typeface="Cordia New" pitchFamily="34" charset="-34"/>
              </a:rPr>
              <a:t>Reader (SAM) for existing transit card standard</a:t>
            </a:r>
            <a:endParaRPr lang="th-TH" sz="12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72" name="Rounded Rectangle 271"/>
          <p:cNvSpPr/>
          <p:nvPr>
            <p:custDataLst>
              <p:tags r:id="rId233"/>
            </p:custDataLst>
          </p:nvPr>
        </p:nvSpPr>
        <p:spPr bwMode="auto">
          <a:xfrm>
            <a:off x="5028820" y="6364356"/>
            <a:ext cx="152146" cy="175399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 smtClean="0">
                <a:solidFill>
                  <a:srgbClr val="003217"/>
                </a:solidFill>
                <a:latin typeface="Cordia New" pitchFamily="34" charset="-34"/>
                <a:cs typeface="Cordia New" pitchFamily="34" charset="-34"/>
              </a:rPr>
              <a:t>R3</a:t>
            </a:r>
            <a:endParaRPr lang="th-TH" sz="900" b="1" dirty="0">
              <a:solidFill>
                <a:srgbClr val="003217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73" name="TextBox 272"/>
          <p:cNvSpPr txBox="1"/>
          <p:nvPr>
            <p:custDataLst>
              <p:tags r:id="rId234"/>
            </p:custDataLst>
          </p:nvPr>
        </p:nvSpPr>
        <p:spPr>
          <a:xfrm>
            <a:off x="5179886" y="6315511"/>
            <a:ext cx="2300633" cy="26486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200" dirty="0" smtClean="0">
                <a:latin typeface="Cordia New" pitchFamily="34" charset="-34"/>
                <a:cs typeface="Cordia New" pitchFamily="34" charset="-34"/>
              </a:rPr>
              <a:t>Reader (SAM) for existing non-transit card standard</a:t>
            </a:r>
            <a:endParaRPr lang="th-TH" sz="1200" b="0" dirty="0" smtClean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76" name="Elbow Connector 170"/>
          <p:cNvCxnSpPr/>
          <p:nvPr>
            <p:custDataLst>
              <p:tags r:id="rId235"/>
            </p:custDataLst>
          </p:nvPr>
        </p:nvCxnSpPr>
        <p:spPr bwMode="auto">
          <a:xfrm flipH="1" flipV="1">
            <a:off x="971600" y="2349394"/>
            <a:ext cx="0" cy="3743903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90" name="Elbow Connector 170"/>
          <p:cNvCxnSpPr/>
          <p:nvPr>
            <p:custDataLst>
              <p:tags r:id="rId236"/>
            </p:custDataLst>
          </p:nvPr>
        </p:nvCxnSpPr>
        <p:spPr bwMode="auto">
          <a:xfrm flipH="1" flipV="1">
            <a:off x="2440335" y="2367651"/>
            <a:ext cx="0" cy="374400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grpSp>
        <p:nvGrpSpPr>
          <p:cNvPr id="13" name="Group 12"/>
          <p:cNvGrpSpPr/>
          <p:nvPr>
            <p:custDataLst>
              <p:tags r:id="rId237"/>
            </p:custDataLst>
          </p:nvPr>
        </p:nvGrpSpPr>
        <p:grpSpPr>
          <a:xfrm>
            <a:off x="990213" y="2231152"/>
            <a:ext cx="1425090" cy="299365"/>
            <a:chOff x="961638" y="2276872"/>
            <a:chExt cx="1425090" cy="299365"/>
          </a:xfrm>
        </p:grpSpPr>
        <p:sp>
          <p:nvSpPr>
            <p:cNvPr id="293" name="Rounded Rectangle 292"/>
            <p:cNvSpPr/>
            <p:nvPr/>
          </p:nvSpPr>
          <p:spPr bwMode="auto">
            <a:xfrm>
              <a:off x="1231867" y="2276872"/>
              <a:ext cx="884861" cy="299365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i="1" dirty="0" smtClean="0">
                  <a:latin typeface="Cordia New" pitchFamily="34" charset="-34"/>
                  <a:cs typeface="Cordia New" pitchFamily="34" charset="-34"/>
                </a:rPr>
                <a:t>Non-transit</a:t>
              </a:r>
              <a:endParaRPr lang="th-TH" sz="1400" b="1" i="1" dirty="0">
                <a:latin typeface="Cordia New" pitchFamily="34" charset="-34"/>
                <a:cs typeface="Cordia New" pitchFamily="34" charset="-34"/>
              </a:endParaRPr>
            </a:p>
          </p:txBody>
        </p:sp>
        <p:cxnSp>
          <p:nvCxnSpPr>
            <p:cNvPr id="10" name="Straight Connector 9"/>
            <p:cNvCxnSpPr>
              <a:stCxn id="293" idx="3"/>
            </p:cNvCxnSpPr>
            <p:nvPr/>
          </p:nvCxnSpPr>
          <p:spPr bwMode="auto">
            <a:xfrm flipV="1">
              <a:off x="2116728" y="2426554"/>
              <a:ext cx="270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4" name="Straight Connector 293"/>
            <p:cNvCxnSpPr>
              <a:endCxn id="293" idx="1"/>
            </p:cNvCxnSpPr>
            <p:nvPr/>
          </p:nvCxnSpPr>
          <p:spPr bwMode="auto">
            <a:xfrm>
              <a:off x="961638" y="2426554"/>
              <a:ext cx="270229" cy="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295" name="Picture 294" descr="http://img.online-station.net/_news/2009/0713/27493_smart-purse-card.JPG"/>
          <p:cNvPicPr>
            <a:picLocks noChangeAspect="1" noChangeArrowheads="1"/>
          </p:cNvPicPr>
          <p:nvPr>
            <p:custDataLst>
              <p:tags r:id="rId238"/>
            </p:custDataLst>
          </p:nvPr>
        </p:nvPicPr>
        <p:blipFill>
          <a:blip r:embed="rId2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3043" y="5831406"/>
            <a:ext cx="342810" cy="196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" name="Picture 10" descr="http://t0.gstatic.com/images?q=tbn:ANd9GcTt7pj7zu2GW6l9rfcQpi2e6d-1ACbFOkD6tcThmXjV-qXP3t5IhA&amp;t=1"/>
          <p:cNvPicPr>
            <a:picLocks noChangeAspect="1" noChangeArrowheads="1"/>
          </p:cNvPicPr>
          <p:nvPr>
            <p:custDataLst>
              <p:tags r:id="rId239"/>
            </p:custDataLst>
          </p:nvPr>
        </p:nvPicPr>
        <p:blipFill>
          <a:blip r:embed="rId26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8410" y="5808088"/>
            <a:ext cx="251881" cy="243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" name="Picture 28" descr="http://vigportal.mot.go.th/portal/templates/template0007/bXUTQeYdZSccWTZcTYVTXffVVQWQQRca/DOH_logo.jpg"/>
          <p:cNvPicPr>
            <a:picLocks noChangeAspect="1" noChangeArrowheads="1"/>
          </p:cNvPicPr>
          <p:nvPr>
            <p:custDataLst>
              <p:tags r:id="rId240"/>
            </p:custDataLst>
          </p:nvPr>
        </p:nvPicPr>
        <p:blipFill>
          <a:blip r:embed="rId26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9793" y="5790705"/>
            <a:ext cx="278754" cy="277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0" name="Picture 4"/>
          <p:cNvPicPr>
            <a:picLocks noChangeAspect="1" noChangeArrowheads="1"/>
          </p:cNvPicPr>
          <p:nvPr>
            <p:custDataLst>
              <p:tags r:id="rId241"/>
            </p:custDataLst>
          </p:nvPr>
        </p:nvPicPr>
        <p:blipFill rotWithShape="1">
          <a:blip r:embed="rId2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53" r="23640"/>
          <a:stretch/>
        </p:blipFill>
        <p:spPr bwMode="auto">
          <a:xfrm>
            <a:off x="2575565" y="5814919"/>
            <a:ext cx="230153" cy="229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1" name="Picture 5"/>
          <p:cNvPicPr>
            <a:picLocks noChangeAspect="1" noChangeArrowheads="1"/>
          </p:cNvPicPr>
          <p:nvPr>
            <p:custDataLst>
              <p:tags r:id="rId242"/>
            </p:custDataLst>
          </p:nvPr>
        </p:nvPicPr>
        <p:blipFill>
          <a:blip r:embed="rId26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48247" y="5823665"/>
            <a:ext cx="219997" cy="21204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03" name="Elbow Connector 170"/>
          <p:cNvCxnSpPr/>
          <p:nvPr>
            <p:custDataLst>
              <p:tags r:id="rId243"/>
            </p:custDataLst>
          </p:nvPr>
        </p:nvCxnSpPr>
        <p:spPr bwMode="auto">
          <a:xfrm flipH="1" flipV="1">
            <a:off x="4355076" y="5745826"/>
            <a:ext cx="0" cy="44628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04" name="Picture 5"/>
          <p:cNvPicPr>
            <a:picLocks noChangeAspect="1" noChangeArrowheads="1"/>
          </p:cNvPicPr>
          <p:nvPr>
            <p:custDataLst>
              <p:tags r:id="rId244"/>
            </p:custDataLst>
          </p:nvPr>
        </p:nvPicPr>
        <p:blipFill rotWithShape="1">
          <a:blip r:embed="rId270" cstate="print">
            <a:extLst>
              <a:ext uri="{BEBA8EAE-BF5A-486C-A8C5-ECC9F3942E4B}">
                <a14:imgProps xmlns:a14="http://schemas.microsoft.com/office/drawing/2010/main">
                  <a14:imgLayer r:embed="rId271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423" t="16542" r="29522"/>
          <a:stretch/>
        </p:blipFill>
        <p:spPr bwMode="auto">
          <a:xfrm>
            <a:off x="3639687" y="5782079"/>
            <a:ext cx="377195" cy="295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5" name="Picture 6"/>
          <p:cNvPicPr>
            <a:picLocks noChangeAspect="1" noChangeArrowheads="1"/>
          </p:cNvPicPr>
          <p:nvPr>
            <p:custDataLst>
              <p:tags r:id="rId245"/>
            </p:custDataLst>
          </p:nvPr>
        </p:nvPicPr>
        <p:blipFill>
          <a:blip r:embed="rId2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6" y="5790514"/>
            <a:ext cx="308299" cy="27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6" name="Picture 15" descr="http://saethailand.com/en/thailand/images/180px-BMTA_Eng_Logo.svg.png"/>
          <p:cNvPicPr>
            <a:picLocks noChangeAspect="1" noChangeArrowheads="1"/>
          </p:cNvPicPr>
          <p:nvPr>
            <p:custDataLst>
              <p:tags r:id="rId246"/>
            </p:custDataLst>
          </p:nvPr>
        </p:nvPicPr>
        <p:blipFill>
          <a:blip r:embed="rId27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9326" y="5811553"/>
            <a:ext cx="293195" cy="2362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pic>
        <p:nvPicPr>
          <p:cNvPr id="318" name="Picture 213" descr="http://static.tlcdn3.com/data/11/pictures/0213/02-15-2013/p17je419ul3e9197dv3gq271q5.png"/>
          <p:cNvPicPr>
            <a:picLocks noChangeAspect="1" noChangeArrowheads="1"/>
          </p:cNvPicPr>
          <p:nvPr>
            <p:custDataLst>
              <p:tags r:id="rId247"/>
            </p:custDataLst>
          </p:nvPr>
        </p:nvPicPr>
        <p:blipFill>
          <a:blip r:embed="rId27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2568" y="5827602"/>
            <a:ext cx="228553" cy="204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9" name="Picture 318"/>
          <p:cNvPicPr>
            <a:picLocks noChangeAspect="1" noChangeArrowheads="1"/>
          </p:cNvPicPr>
          <p:nvPr>
            <p:custDataLst>
              <p:tags r:id="rId248"/>
            </p:custDataLst>
          </p:nvPr>
        </p:nvPicPr>
        <p:blipFill rotWithShape="1">
          <a:blip r:embed="rId27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91522" y="5868803"/>
            <a:ext cx="404614" cy="121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21" name="Elbow Connector 170"/>
          <p:cNvCxnSpPr/>
          <p:nvPr>
            <p:custDataLst>
              <p:tags r:id="rId249"/>
            </p:custDataLst>
          </p:nvPr>
        </p:nvCxnSpPr>
        <p:spPr bwMode="auto">
          <a:xfrm flipH="1" flipV="1">
            <a:off x="5818996" y="5745826"/>
            <a:ext cx="0" cy="44628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22" name="Picture 3"/>
          <p:cNvPicPr>
            <a:picLocks noChangeAspect="1" noChangeArrowheads="1"/>
          </p:cNvPicPr>
          <p:nvPr>
            <p:custDataLst>
              <p:tags r:id="rId250"/>
            </p:custDataLst>
          </p:nvPr>
        </p:nvPicPr>
        <p:blipFill rotWithShape="1">
          <a:blip r:embed="rId27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48530" y="5831045"/>
            <a:ext cx="420937" cy="197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24" name="Elbow Connector 170"/>
          <p:cNvCxnSpPr/>
          <p:nvPr>
            <p:custDataLst>
              <p:tags r:id="rId251"/>
            </p:custDataLst>
          </p:nvPr>
        </p:nvCxnSpPr>
        <p:spPr bwMode="auto">
          <a:xfrm flipH="1" flipV="1">
            <a:off x="7475650" y="5745826"/>
            <a:ext cx="0" cy="44628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25" name="Picture 2" descr="http://a0.twimg.com/profile_images/853154558/Official_Logo_bts.JPG"/>
          <p:cNvPicPr>
            <a:picLocks noChangeAspect="1" noChangeArrowheads="1"/>
          </p:cNvPicPr>
          <p:nvPr>
            <p:custDataLst>
              <p:tags r:id="rId252"/>
            </p:custDataLst>
          </p:nvPr>
        </p:nvPicPr>
        <p:blipFill>
          <a:blip r:embed="rId27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37020" y="5784105"/>
            <a:ext cx="253845" cy="291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53" name="Picture 29" descr="http://www.thaigoodview.com/files/u72862/Bangkok_BRT_Logo.png"/>
          <p:cNvPicPr>
            <a:picLocks noChangeAspect="1" noChangeArrowheads="1"/>
          </p:cNvPicPr>
          <p:nvPr>
            <p:custDataLst>
              <p:tags r:id="rId253"/>
            </p:custDataLst>
          </p:nvPr>
        </p:nvPicPr>
        <p:blipFill>
          <a:blip r:embed="rId27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6649" y="5820439"/>
            <a:ext cx="284181" cy="303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7" name="Elbow Connector 170"/>
          <p:cNvCxnSpPr/>
          <p:nvPr>
            <p:custDataLst>
              <p:tags r:id="rId254"/>
            </p:custDataLst>
          </p:nvPr>
        </p:nvCxnSpPr>
        <p:spPr bwMode="auto">
          <a:xfrm flipH="1" flipV="1">
            <a:off x="8279128" y="5745826"/>
            <a:ext cx="0" cy="44628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8" name="Elbow Connector 170"/>
          <p:cNvCxnSpPr/>
          <p:nvPr>
            <p:custDataLst>
              <p:tags r:id="rId255"/>
            </p:custDataLst>
          </p:nvPr>
        </p:nvCxnSpPr>
        <p:spPr bwMode="auto">
          <a:xfrm flipH="1" flipV="1">
            <a:off x="1516392" y="5745826"/>
            <a:ext cx="0" cy="446281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5" name="Group 14"/>
          <p:cNvGrpSpPr/>
          <p:nvPr>
            <p:custDataLst>
              <p:tags r:id="rId256"/>
            </p:custDataLst>
          </p:nvPr>
        </p:nvGrpSpPr>
        <p:grpSpPr>
          <a:xfrm>
            <a:off x="1057036" y="5710203"/>
            <a:ext cx="399525" cy="373138"/>
            <a:chOff x="22422" y="5601685"/>
            <a:chExt cx="537085" cy="498734"/>
          </a:xfrm>
        </p:grpSpPr>
        <p:pic>
          <p:nvPicPr>
            <p:cNvPr id="331" name="Picture 6"/>
            <p:cNvPicPr>
              <a:picLocks noChangeAspect="1" noChangeArrowheads="1"/>
            </p:cNvPicPr>
            <p:nvPr>
              <p:custDataLst>
                <p:tags r:id="rId258"/>
              </p:custDataLst>
            </p:nvPr>
          </p:nvPicPr>
          <p:blipFill>
            <a:blip r:embed="rId27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2581" y="5888702"/>
              <a:ext cx="167953" cy="204256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32" name="Picture 14" descr="http://profile.ak.fbcdn.net/hprofile-ak-snc4/373603_126495977378097_1287068836_n.jpg"/>
            <p:cNvPicPr>
              <a:picLocks noChangeAspect="1" noChangeArrowheads="1"/>
            </p:cNvPicPr>
            <p:nvPr>
              <p:custDataLst>
                <p:tags r:id="rId259"/>
              </p:custDataLst>
            </p:nvPr>
          </p:nvPicPr>
          <p:blipFill>
            <a:blip r:embed="rId28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22" y="5601685"/>
              <a:ext cx="231410" cy="227945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extLst/>
          </p:spPr>
        </p:pic>
        <p:pic>
          <p:nvPicPr>
            <p:cNvPr id="334" name="Picture 49"/>
            <p:cNvPicPr>
              <a:picLocks noChangeAspect="1" noChangeArrowheads="1"/>
            </p:cNvPicPr>
            <p:nvPr>
              <p:custDataLst>
                <p:tags r:id="rId260"/>
              </p:custDataLst>
            </p:nvPr>
          </p:nvPicPr>
          <p:blipFill>
            <a:blip r:embed="rId28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688" y="5625736"/>
              <a:ext cx="227819" cy="200201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35" name="Picture 7"/>
            <p:cNvPicPr>
              <a:picLocks noChangeAspect="1" noChangeArrowheads="1"/>
            </p:cNvPicPr>
            <p:nvPr>
              <p:custDataLst>
                <p:tags r:id="rId261"/>
              </p:custDataLst>
            </p:nvPr>
          </p:nvPicPr>
          <p:blipFill>
            <a:blip r:embed="rId28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26" y="5891952"/>
              <a:ext cx="225094" cy="208467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03455" name="Picture 31" descr="http://t0.gstatic.com/images?q=tbn:ANd9GcQGrl5mlfjxZlk_G1IJpNZnOisLhzhqeYRhUe2Ws-DE8iHPD9VI"/>
          <p:cNvPicPr>
            <a:picLocks noChangeAspect="1" noChangeArrowheads="1"/>
          </p:cNvPicPr>
          <p:nvPr>
            <p:custDataLst>
              <p:tags r:id="rId257"/>
            </p:custDataLst>
          </p:nvPr>
        </p:nvPicPr>
        <p:blipFill rotWithShape="1">
          <a:blip r:embed="rId28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25" r="17475"/>
          <a:stretch/>
        </p:blipFill>
        <p:spPr bwMode="auto">
          <a:xfrm>
            <a:off x="7865147" y="5787373"/>
            <a:ext cx="321884" cy="359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2" name="Rounded Rectangle 371"/>
          <p:cNvSpPr/>
          <p:nvPr/>
        </p:nvSpPr>
        <p:spPr bwMode="auto">
          <a:xfrm>
            <a:off x="2100211" y="996874"/>
            <a:ext cx="884861" cy="153622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latin typeface="Cordia New" pitchFamily="34" charset="-34"/>
                <a:cs typeface="Cordia New" pitchFamily="34" charset="-34"/>
              </a:rPr>
              <a:t>Multiple Card Issuers</a:t>
            </a:r>
            <a:endParaRPr lang="th-TH" sz="12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373" name="Straight Connector 372"/>
          <p:cNvCxnSpPr/>
          <p:nvPr/>
        </p:nvCxnSpPr>
        <p:spPr bwMode="auto">
          <a:xfrm flipV="1">
            <a:off x="3050864" y="1060356"/>
            <a:ext cx="297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5" name="Straight Connector 374"/>
          <p:cNvCxnSpPr/>
          <p:nvPr/>
        </p:nvCxnSpPr>
        <p:spPr bwMode="auto">
          <a:xfrm>
            <a:off x="1691680" y="1058445"/>
            <a:ext cx="297252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6" name="Rounded Rectangle 375"/>
          <p:cNvSpPr/>
          <p:nvPr/>
        </p:nvSpPr>
        <p:spPr bwMode="auto">
          <a:xfrm>
            <a:off x="1565555" y="1117997"/>
            <a:ext cx="1896780" cy="16898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i="1" dirty="0" smtClean="0">
                <a:latin typeface="Cordia New" pitchFamily="34" charset="-34"/>
                <a:cs typeface="Cordia New" pitchFamily="34" charset="-34"/>
              </a:rPr>
              <a:t>(i.e. operators, </a:t>
            </a:r>
            <a:r>
              <a:rPr lang="en-US" sz="1100" b="1" i="1" dirty="0" err="1" smtClean="0">
                <a:latin typeface="Cordia New" pitchFamily="34" charset="-34"/>
                <a:cs typeface="Cordia New" pitchFamily="34" charset="-34"/>
              </a:rPr>
              <a:t>telco</a:t>
            </a:r>
            <a:r>
              <a:rPr lang="en-US" sz="1100" b="1" i="1" dirty="0" smtClean="0">
                <a:latin typeface="Cordia New" pitchFamily="34" charset="-34"/>
                <a:cs typeface="Cordia New" pitchFamily="34" charset="-34"/>
              </a:rPr>
              <a:t>, banks retailers ,etc.)</a:t>
            </a:r>
            <a:endParaRPr lang="th-TH" sz="1100" b="1" i="1" dirty="0">
              <a:latin typeface="Cordia New" pitchFamily="34" charset="-34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532538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0423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2" name="think-cell Slide" r:id="rId36" imgW="360" imgH="360" progId="">
                  <p:embed/>
                </p:oleObj>
              </mc:Choice>
              <mc:Fallback>
                <p:oleObj name="think-cell Slide" r:id="rId36" imgW="360" imgH="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th-TH" sz="2400" dirty="0" smtClean="0"/>
              <a:t>นโยบาย </a:t>
            </a:r>
            <a:r>
              <a:rPr lang="en-US" sz="2400" dirty="0" smtClean="0"/>
              <a:t>Single Standard, Multiple Issuers</a:t>
            </a:r>
            <a:endParaRPr lang="th-TH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19" name="Rectangle 18"/>
          <p:cNvSpPr/>
          <p:nvPr>
            <p:custDataLst>
              <p:tags r:id="rId6"/>
            </p:custDataLst>
          </p:nvPr>
        </p:nvSpPr>
        <p:spPr bwMode="auto">
          <a:xfrm>
            <a:off x="841061" y="1085964"/>
            <a:ext cx="7697541" cy="68444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dirty="0" smtClean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grpSp>
        <p:nvGrpSpPr>
          <p:cNvPr id="21" name="Group 20"/>
          <p:cNvGrpSpPr/>
          <p:nvPr>
            <p:custDataLst>
              <p:tags r:id="rId7"/>
            </p:custDataLst>
          </p:nvPr>
        </p:nvGrpSpPr>
        <p:grpSpPr>
          <a:xfrm>
            <a:off x="4317578" y="2327479"/>
            <a:ext cx="844752" cy="567812"/>
            <a:chOff x="5875526" y="2598368"/>
            <a:chExt cx="892969" cy="562190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22" name="Oval 21"/>
            <p:cNvSpPr/>
            <p:nvPr>
              <p:custDataLst>
                <p:tags r:id="rId31"/>
              </p:custDataLst>
            </p:nvPr>
          </p:nvSpPr>
          <p:spPr bwMode="auto">
            <a:xfrm>
              <a:off x="6508052" y="2602203"/>
              <a:ext cx="260443" cy="26044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rtlCol="0" anchor="ctr"/>
            <a:lstStyle/>
            <a:p>
              <a:pPr marL="285750" indent="-285750" algn="ctr">
                <a:buFont typeface="Arial" pitchFamily="34" charset="0"/>
                <a:buChar char="•"/>
              </a:pPr>
              <a:endParaRPr lang="th-TH" sz="16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endParaRPr>
            </a:p>
          </p:txBody>
        </p:sp>
        <p:sp>
          <p:nvSpPr>
            <p:cNvPr id="23" name="Oval 22"/>
            <p:cNvSpPr/>
            <p:nvPr>
              <p:custDataLst>
                <p:tags r:id="rId32"/>
              </p:custDataLst>
            </p:nvPr>
          </p:nvSpPr>
          <p:spPr bwMode="auto">
            <a:xfrm>
              <a:off x="6508052" y="2900116"/>
              <a:ext cx="260443" cy="26044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rtlCol="0" anchor="ctr"/>
            <a:lstStyle/>
            <a:p>
              <a:pPr marL="285750" indent="-285750" algn="ctr">
                <a:buFont typeface="Arial" pitchFamily="34" charset="0"/>
                <a:buChar char="•"/>
              </a:pPr>
              <a:endParaRPr lang="th-TH" sz="16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endParaRPr>
            </a:p>
          </p:txBody>
        </p:sp>
        <p:pic>
          <p:nvPicPr>
            <p:cNvPr id="24" name="Picture 6"/>
            <p:cNvPicPr>
              <a:picLocks noChangeAspect="1" noChangeArrowheads="1"/>
            </p:cNvPicPr>
            <p:nvPr>
              <p:custDataLst>
                <p:tags r:id="rId33"/>
              </p:custDataLst>
            </p:nvPr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5526" y="2598368"/>
              <a:ext cx="829952" cy="558281"/>
            </a:xfrm>
            <a:prstGeom prst="roundRect">
              <a:avLst/>
            </a:prstGeom>
            <a:gradFill flip="none" rotWithShape="1">
              <a:gsLst>
                <a:gs pos="0">
                  <a:schemeClr val="accent2">
                    <a:lumMod val="40000"/>
                    <a:lumOff val="60000"/>
                    <a:shade val="30000"/>
                    <a:satMod val="115000"/>
                  </a:schemeClr>
                </a:gs>
                <a:gs pos="50000">
                  <a:schemeClr val="accent2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accent2">
                    <a:lumMod val="40000"/>
                    <a:lumOff val="6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pic>
        <p:sp>
          <p:nvSpPr>
            <p:cNvPr id="25" name="Rectangle 24"/>
            <p:cNvSpPr/>
            <p:nvPr>
              <p:custDataLst>
                <p:tags r:id="rId34"/>
              </p:custDataLst>
            </p:nvPr>
          </p:nvSpPr>
          <p:spPr bwMode="auto">
            <a:xfrm>
              <a:off x="5889104" y="2627955"/>
              <a:ext cx="298761" cy="16385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i="1" dirty="0" smtClean="0">
                  <a:solidFill>
                    <a:prstClr val="white"/>
                  </a:solidFill>
                  <a:latin typeface="Cordia New" pitchFamily="34" charset="-34"/>
                  <a:cs typeface="Cordia New" pitchFamily="34" charset="-34"/>
                </a:rPr>
                <a:t>NC</a:t>
              </a:r>
              <a:endParaRPr lang="th-TH" sz="2000" i="1" dirty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endParaRPr>
            </a:p>
          </p:txBody>
        </p:sp>
      </p:grpSp>
      <p:sp>
        <p:nvSpPr>
          <p:cNvPr id="6" name="Rectangle 5"/>
          <p:cNvSpPr/>
          <p:nvPr>
            <p:custDataLst>
              <p:tags r:id="rId8"/>
            </p:custDataLst>
          </p:nvPr>
        </p:nvSpPr>
        <p:spPr bwMode="auto">
          <a:xfrm>
            <a:off x="251520" y="3759681"/>
            <a:ext cx="2016000" cy="252547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dirty="0" smtClean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5" name="Rectangle 4"/>
          <p:cNvSpPr/>
          <p:nvPr>
            <p:custDataLst>
              <p:tags r:id="rId9"/>
            </p:custDataLst>
          </p:nvPr>
        </p:nvSpPr>
        <p:spPr bwMode="auto">
          <a:xfrm>
            <a:off x="251520" y="3489548"/>
            <a:ext cx="2016000" cy="419342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ระบบขนส่งมวลชนทางราง</a:t>
            </a:r>
          </a:p>
        </p:txBody>
      </p:sp>
      <p:sp>
        <p:nvSpPr>
          <p:cNvPr id="8" name="Rectangle 7"/>
          <p:cNvSpPr/>
          <p:nvPr>
            <p:custDataLst>
              <p:tags r:id="rId10"/>
            </p:custDataLst>
          </p:nvPr>
        </p:nvSpPr>
        <p:spPr bwMode="auto">
          <a:xfrm>
            <a:off x="2477217" y="3759681"/>
            <a:ext cx="2016000" cy="252547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9" name="Rectangle 8"/>
          <p:cNvSpPr/>
          <p:nvPr>
            <p:custDataLst>
              <p:tags r:id="rId11"/>
            </p:custDataLst>
          </p:nvPr>
        </p:nvSpPr>
        <p:spPr bwMode="auto">
          <a:xfrm>
            <a:off x="2477217" y="3489548"/>
            <a:ext cx="2016000" cy="419342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ระบบรถโดยสารสาธารณะ</a:t>
            </a:r>
          </a:p>
        </p:txBody>
      </p:sp>
      <p:sp>
        <p:nvSpPr>
          <p:cNvPr id="10" name="Rectangle 9"/>
          <p:cNvSpPr/>
          <p:nvPr>
            <p:custDataLst>
              <p:tags r:id="rId12"/>
            </p:custDataLst>
          </p:nvPr>
        </p:nvSpPr>
        <p:spPr bwMode="auto">
          <a:xfrm>
            <a:off x="4702915" y="3759681"/>
            <a:ext cx="2016000" cy="252547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1" name="Rectangle 10"/>
          <p:cNvSpPr/>
          <p:nvPr>
            <p:custDataLst>
              <p:tags r:id="rId13"/>
            </p:custDataLst>
          </p:nvPr>
        </p:nvSpPr>
        <p:spPr bwMode="auto">
          <a:xfrm>
            <a:off x="4702915" y="3489548"/>
            <a:ext cx="2016000" cy="419342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ระบบขนส่งทางน้ำ</a:t>
            </a:r>
          </a:p>
        </p:txBody>
      </p:sp>
      <p:sp>
        <p:nvSpPr>
          <p:cNvPr id="12" name="Rectangle 11"/>
          <p:cNvSpPr/>
          <p:nvPr>
            <p:custDataLst>
              <p:tags r:id="rId14"/>
            </p:custDataLst>
          </p:nvPr>
        </p:nvSpPr>
        <p:spPr bwMode="auto">
          <a:xfrm>
            <a:off x="6886690" y="3759681"/>
            <a:ext cx="2016000" cy="252547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3" name="Rectangle 12"/>
          <p:cNvSpPr/>
          <p:nvPr>
            <p:custDataLst>
              <p:tags r:id="rId15"/>
            </p:custDataLst>
          </p:nvPr>
        </p:nvSpPr>
        <p:spPr bwMode="auto">
          <a:xfrm>
            <a:off x="6886690" y="3489548"/>
            <a:ext cx="2016000" cy="419342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600" b="1" dirty="0" smtClean="0">
                <a:solidFill>
                  <a:prstClr val="white"/>
                </a:solidFill>
                <a:latin typeface="Cordia New" pitchFamily="34" charset="-34"/>
                <a:cs typeface="Cordia New" pitchFamily="34" charset="-34"/>
              </a:rPr>
              <a:t>ระบบทางพิเศษ</a:t>
            </a:r>
          </a:p>
        </p:txBody>
      </p:sp>
      <p:pic>
        <p:nvPicPr>
          <p:cNvPr id="110597" name="Picture 5" descr="http://www.rd1677.com/backoffice/PicUpdate/67103.jpg"/>
          <p:cNvPicPr>
            <a:picLocks noChangeAspect="1" noChangeArrowheads="1"/>
          </p:cNvPicPr>
          <p:nvPr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22" r="14022"/>
          <a:stretch/>
        </p:blipFill>
        <p:spPr bwMode="auto">
          <a:xfrm>
            <a:off x="318684" y="3953386"/>
            <a:ext cx="803963" cy="752471"/>
          </a:xfrm>
          <a:prstGeom prst="ellipse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599" name="Picture 7" descr="http://upload.wikimedia.org/wikipedia/commons/thumb/8/8c/Suvarnabhumi_express_train.jpg/220px-Suvarnabhumi_express_train.jp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437" y="4710531"/>
            <a:ext cx="807905" cy="826918"/>
          </a:xfrm>
          <a:prstGeom prst="ellipse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601" name="Picture 9" descr="http://www.guchill.com/wp-content/uploads/2012/02/bts.jpg"/>
          <p:cNvPicPr>
            <a:picLocks noChangeAspect="1" noChangeArrowheads="1"/>
          </p:cNvPicPr>
          <p:nvPr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78" t="11075" r="20803" b="4486"/>
          <a:stretch/>
        </p:blipFill>
        <p:spPr bwMode="auto">
          <a:xfrm>
            <a:off x="330559" y="5488737"/>
            <a:ext cx="816050" cy="813711"/>
          </a:xfrm>
          <a:prstGeom prst="ellipse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1060468" y="4136784"/>
            <a:ext cx="914400" cy="2337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ะบบ </a:t>
            </a:r>
            <a:r>
              <a:rPr lang="en-US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MRTA </a:t>
            </a:r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ทุกสาย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60468" y="4901986"/>
            <a:ext cx="914400" cy="2337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ะบบ </a:t>
            </a:r>
            <a:r>
              <a:rPr lang="en-US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Airport rail link</a:t>
            </a:r>
            <a:endParaRPr lang="th-TH" sz="1400" dirty="0" smtClean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60468" y="5814151"/>
            <a:ext cx="914400" cy="2337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ะบบ </a:t>
            </a:r>
            <a:r>
              <a:rPr lang="en-US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BTS</a:t>
            </a:r>
            <a:endParaRPr lang="th-TH" sz="1400" dirty="0" smtClean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pic>
        <p:nvPicPr>
          <p:cNvPr id="110608" name="Picture 16" descr="http://www.abysscross.com/stuffs/entries-images/newbmrtbus.jp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BEBA8EAE-BF5A-486C-A8C5-ECC9F3942E4B}">
                <a14:imgProps xmlns:a14="http://schemas.microsoft.com/office/drawing/2010/main">
                  <a14:imgLayer r:embed="rId43">
                    <a14:imgEffect>
                      <a14:backgroundRemoval t="10000" b="90000" l="625" r="98438">
                        <a14:foregroundMark x1="9688" y1="60833" x2="10000" y2="49167"/>
                        <a14:foregroundMark x1="54701" y1="68571" x2="57692" y2="77143"/>
                        <a14:foregroundMark x1="87179" y1="64571" x2="89744" y2="668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298" y="4040606"/>
            <a:ext cx="971186" cy="706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3487036" y="4206675"/>
            <a:ext cx="914400" cy="2337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ถโดยสาร ขสมก.</a:t>
            </a:r>
          </a:p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ปรับอากาศ</a:t>
            </a:r>
          </a:p>
        </p:txBody>
      </p:sp>
      <p:pic>
        <p:nvPicPr>
          <p:cNvPr id="110611" name="Picture 19" descr="http://www.talkystory.com/wp-content/uploads/2011/09/017.jp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BEBA8EAE-BF5A-486C-A8C5-ECC9F3942E4B}">
                <a14:imgProps xmlns:a14="http://schemas.microsoft.com/office/drawing/2010/main">
                  <a14:imgLayer r:embed="rId45">
                    <a14:imgEffect>
                      <a14:backgroundRemoval t="10000" b="90000" l="4618" r="95860">
                        <a14:foregroundMark x1="32962" y1="22979" x2="90446" y2="38298"/>
                        <a14:foregroundMark x1="8280" y1="56170" x2="8758" y2="45957"/>
                        <a14:backgroundMark x1="45382" y1="22766" x2="61624" y2="27872"/>
                        <a14:backgroundMark x1="71338" y1="31064" x2="90287" y2="37021"/>
                        <a14:backgroundMark x1="30573" y1="21489" x2="42675" y2="2234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462" y="4742757"/>
            <a:ext cx="978056" cy="710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3487036" y="4905577"/>
            <a:ext cx="914400" cy="2337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ถโดยสาร ขสมก.</a:t>
            </a:r>
          </a:p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ถธรรมดา</a:t>
            </a:r>
          </a:p>
        </p:txBody>
      </p:sp>
      <p:pic>
        <p:nvPicPr>
          <p:cNvPr id="110613" name="Picture 21" descr="http://www.chaoprayanews.com/wp-content/uploads/2010/11/tipsth2944.jp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BEBA8EAE-BF5A-486C-A8C5-ECC9F3942E4B}">
                <a14:imgProps xmlns:a14="http://schemas.microsoft.com/office/drawing/2010/main">
                  <a14:imgLayer r:embed="rId47">
                    <a14:imgEffect>
                      <a14:backgroundRemoval t="625" b="90000" l="27500" r="100000">
                        <a14:foregroundMark x1="33281" y1="33125" x2="35781" y2="7292"/>
                        <a14:foregroundMark x1="66250" y1="2292" x2="96094" y2="10417"/>
                        <a14:backgroundMark x1="31250" y1="35000" x2="36563" y2="1042"/>
                        <a14:backgroundMark x1="98281" y1="9167" x2="65781" y2="0"/>
                        <a14:backgroundMark x1="90313" y1="3125" x2="99375" y2="58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8628" y="5628518"/>
            <a:ext cx="906132" cy="659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3508740" y="5674370"/>
            <a:ext cx="914400" cy="2337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ถโดยสาร </a:t>
            </a:r>
            <a:endParaRPr lang="th-TH" sz="1400" dirty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่วมบริการ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740988" y="4188451"/>
            <a:ext cx="914400" cy="2337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ะบบเรือด่วน</a:t>
            </a:r>
          </a:p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เจ้าพระยา</a:t>
            </a:r>
          </a:p>
        </p:txBody>
      </p:sp>
      <p:pic>
        <p:nvPicPr>
          <p:cNvPr id="110618" name="Picture 26" descr="http://www.siamrath.co.th/web/sites/default/files/eruuedwn.jp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BEBA8EAE-BF5A-486C-A8C5-ECC9F3942E4B}">
                <a14:imgProps xmlns:a14="http://schemas.microsoft.com/office/drawing/2010/main">
                  <a14:imgLayer r:embed="rId49">
                    <a14:imgEffect>
                      <a14:backgroundRemoval t="3429" b="90000" l="0" r="98600">
                        <a14:foregroundMark x1="7800" y1="40571" x2="32800" y2="39714"/>
                        <a14:foregroundMark x1="8400" y1="48857" x2="50000" y2="41429"/>
                        <a14:foregroundMark x1="45000" y1="31429" x2="46800" y2="2657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8687" y="3895511"/>
            <a:ext cx="1254115" cy="852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622" name="Picture 30" descr="http://www.tnews.co.th/html/picture/tnews_1329121889_6783.jpg"/>
          <p:cNvPicPr>
            <a:picLocks noChangeAspect="1" noChangeArrowheads="1"/>
          </p:cNvPicPr>
          <p:nvPr/>
        </p:nvPicPr>
        <p:blipFill rotWithShape="1"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06" t="11633" r="15855" b="4321"/>
          <a:stretch/>
        </p:blipFill>
        <p:spPr bwMode="auto">
          <a:xfrm>
            <a:off x="4692980" y="4747573"/>
            <a:ext cx="1087559" cy="922353"/>
          </a:xfrm>
          <a:prstGeom prst="ellipse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5812996" y="5027134"/>
            <a:ext cx="914400" cy="2337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ะบบเรือโดย</a:t>
            </a:r>
          </a:p>
          <a:p>
            <a:r>
              <a:rPr lang="en-US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-</a:t>
            </a:r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สารข้ามฝาก</a:t>
            </a:r>
          </a:p>
        </p:txBody>
      </p:sp>
      <p:pic>
        <p:nvPicPr>
          <p:cNvPr id="46" name="Picture 10" descr="http://t0.gstatic.com/images?q=tbn:ANd9GcTt7pj7zu2GW6l9rfcQpi2e6d-1ACbFOkD6tcThmXjV-qXP3t5IhA&amp;t=1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8767" y="4164093"/>
            <a:ext cx="446223" cy="45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8" descr="http://vigportal.mot.go.th/portal/templates/template0007/bXUTQeYdZSccWTZcTYVTXffVVQWQQRca/DOH_logo.jpg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5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20272" y="4817463"/>
            <a:ext cx="543212" cy="578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 rotWithShape="1"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53" r="23640"/>
          <a:stretch/>
        </p:blipFill>
        <p:spPr bwMode="auto">
          <a:xfrm>
            <a:off x="7050309" y="5585373"/>
            <a:ext cx="483138" cy="577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9" name="TextBox 48"/>
          <p:cNvSpPr txBox="1"/>
          <p:nvPr/>
        </p:nvSpPr>
        <p:spPr>
          <a:xfrm>
            <a:off x="7618040" y="4188451"/>
            <a:ext cx="914400" cy="2337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ะบบการทางพิเศษ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7618040" y="5003096"/>
            <a:ext cx="914400" cy="2337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ะบบกรมทางหลวง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618040" y="5841780"/>
            <a:ext cx="914400" cy="23370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ระบบดอนเมืองโทลเวย์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4172568" y="994900"/>
            <a:ext cx="1034526" cy="2438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800" b="1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ผู้ออกบัตร</a:t>
            </a:r>
          </a:p>
        </p:txBody>
      </p:sp>
      <p:sp>
        <p:nvSpPr>
          <p:cNvPr id="62" name="Down Arrow 61"/>
          <p:cNvSpPr/>
          <p:nvPr/>
        </p:nvSpPr>
        <p:spPr bwMode="auto">
          <a:xfrm rot="2143444">
            <a:off x="3963835" y="3096323"/>
            <a:ext cx="261785" cy="353559"/>
          </a:xfrm>
          <a:prstGeom prst="downArrow">
            <a:avLst/>
          </a:prstGeom>
          <a:solidFill>
            <a:schemeClr val="accent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dirty="0" smtClean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63" name="Down Arrow 62"/>
          <p:cNvSpPr/>
          <p:nvPr/>
        </p:nvSpPr>
        <p:spPr bwMode="auto">
          <a:xfrm rot="4346197">
            <a:off x="3569025" y="2900415"/>
            <a:ext cx="261785" cy="353559"/>
          </a:xfrm>
          <a:prstGeom prst="downArrow">
            <a:avLst/>
          </a:prstGeom>
          <a:solidFill>
            <a:schemeClr val="accent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dirty="0" smtClean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64" name="Down Arrow 63"/>
          <p:cNvSpPr/>
          <p:nvPr/>
        </p:nvSpPr>
        <p:spPr bwMode="auto">
          <a:xfrm rot="19456556" flipH="1">
            <a:off x="5283436" y="3104286"/>
            <a:ext cx="261785" cy="353559"/>
          </a:xfrm>
          <a:prstGeom prst="downArrow">
            <a:avLst/>
          </a:prstGeom>
          <a:solidFill>
            <a:schemeClr val="accent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dirty="0" smtClean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65" name="Down Arrow 64"/>
          <p:cNvSpPr/>
          <p:nvPr/>
        </p:nvSpPr>
        <p:spPr bwMode="auto">
          <a:xfrm rot="17253803" flipH="1">
            <a:off x="5512890" y="2900415"/>
            <a:ext cx="261785" cy="353559"/>
          </a:xfrm>
          <a:prstGeom prst="downArrow">
            <a:avLst/>
          </a:prstGeom>
          <a:solidFill>
            <a:schemeClr val="accent1">
              <a:lumMod val="50000"/>
              <a:lumOff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dirty="0" smtClean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5627367" y="2493903"/>
            <a:ext cx="3571469" cy="57505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rIns="0" rtlCol="0" anchor="ctr"/>
          <a:lstStyle/>
          <a:p>
            <a:pPr algn="ctr">
              <a:lnSpc>
                <a:spcPct val="75000"/>
              </a:lnSpc>
            </a:pPr>
            <a:r>
              <a:rPr lang="en-US" sz="1900" b="1" i="1" dirty="0" smtClean="0">
                <a:solidFill>
                  <a:srgbClr val="0041C4">
                    <a:lumMod val="75000"/>
                  </a:srgbClr>
                </a:solidFill>
                <a:latin typeface="Cordia New" pitchFamily="34" charset="-34"/>
                <a:cs typeface="Cordia New" pitchFamily="34" charset="-34"/>
              </a:rPr>
              <a:t>“</a:t>
            </a:r>
            <a:r>
              <a:rPr lang="th-TH" sz="1900" b="1" i="1" u="sng" dirty="0" smtClean="0">
                <a:solidFill>
                  <a:srgbClr val="0041C4">
                    <a:lumMod val="75000"/>
                  </a:srgbClr>
                </a:solidFill>
                <a:latin typeface="Cordia New" pitchFamily="34" charset="-34"/>
                <a:cs typeface="Cordia New" pitchFamily="34" charset="-34"/>
              </a:rPr>
              <a:t>ตั๋วโดยสารใบเดียว</a:t>
            </a:r>
          </a:p>
          <a:p>
            <a:pPr algn="ctr">
              <a:lnSpc>
                <a:spcPct val="75000"/>
              </a:lnSpc>
            </a:pPr>
            <a:r>
              <a:rPr lang="th-TH" sz="1900" b="1" i="1" dirty="0" smtClean="0">
                <a:solidFill>
                  <a:srgbClr val="0041C4">
                    <a:lumMod val="75000"/>
                  </a:srgbClr>
                </a:solidFill>
                <a:latin typeface="Cordia New" pitchFamily="34" charset="-34"/>
                <a:cs typeface="Cordia New" pitchFamily="34" charset="-34"/>
              </a:rPr>
              <a:t>ในการใช้บริการการขนส่งมวลชนทุกรูปแบบ</a:t>
            </a:r>
            <a:r>
              <a:rPr lang="en-US" sz="1900" b="1" i="1" dirty="0" smtClean="0">
                <a:solidFill>
                  <a:srgbClr val="0041C4">
                    <a:lumMod val="75000"/>
                  </a:srgbClr>
                </a:solidFill>
                <a:latin typeface="Cordia New" pitchFamily="34" charset="-34"/>
                <a:cs typeface="Cordia New" pitchFamily="34" charset="-34"/>
              </a:rPr>
              <a:t>”</a:t>
            </a:r>
            <a:endParaRPr lang="th-TH" sz="1900" b="1" i="1" dirty="0" smtClean="0">
              <a:solidFill>
                <a:srgbClr val="0041C4">
                  <a:lumMod val="75000"/>
                </a:srgbClr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67" name="Down Arrow 66"/>
          <p:cNvSpPr/>
          <p:nvPr/>
        </p:nvSpPr>
        <p:spPr bwMode="auto">
          <a:xfrm flipH="1">
            <a:off x="4607794" y="1844824"/>
            <a:ext cx="261785" cy="388917"/>
          </a:xfrm>
          <a:prstGeom prst="downArrow">
            <a:avLst/>
          </a:prstGeom>
          <a:solidFill>
            <a:srgbClr val="6BA42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600" dirty="0" smtClean="0">
              <a:solidFill>
                <a:prstClr val="black"/>
              </a:solidFill>
              <a:latin typeface="Cordia New" pitchFamily="34" charset="-34"/>
              <a:cs typeface="Cordia New" pitchFamily="34" charset="-34"/>
            </a:endParaRPr>
          </a:p>
        </p:txBody>
      </p:sp>
      <p:pic>
        <p:nvPicPr>
          <p:cNvPr id="68" name="Picture 10" descr="http://t0.gstatic.com/images?q=tbn:ANd9GcTt7pj7zu2GW6l9rfcQpi2e6d-1ACbFOkD6tcThmXjV-qXP3t5IhA&amp;t=1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360" y="1193250"/>
            <a:ext cx="446223" cy="473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8" descr="http://vigportal.mot.go.th/portal/templates/template0007/bXUTQeYdZSccWTZcTYVTXffVVQWQQRca/DOH_logo.jp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5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59124" y="1159373"/>
            <a:ext cx="493829" cy="541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15" descr="http://saethailand.com/en/thailand/images/180px-BMTA_Eng_Logo.svg.png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5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7251" y="1238858"/>
            <a:ext cx="431748" cy="3827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pic>
        <p:nvPicPr>
          <p:cNvPr id="71" name="Picture 2" descr="http://a0.twimg.com/profile_images/853154558/Official_Logo_bts.JPG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5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51540" y="1195750"/>
            <a:ext cx="371655" cy="468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4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 rotWithShape="1"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53" r="23640"/>
          <a:stretch/>
        </p:blipFill>
        <p:spPr bwMode="auto">
          <a:xfrm>
            <a:off x="2495494" y="1159592"/>
            <a:ext cx="439216" cy="541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" name="Picture 5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5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2959" y="1219451"/>
            <a:ext cx="362989" cy="42152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4" name="Picture 6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5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82077" y="1232868"/>
            <a:ext cx="361236" cy="444772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Picture 8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 rotWithShape="1"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78" t="16691" r="35783" b="28412"/>
          <a:stretch/>
        </p:blipFill>
        <p:spPr bwMode="auto">
          <a:xfrm>
            <a:off x="4868544" y="1169257"/>
            <a:ext cx="388878" cy="521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" name="Picture 3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 rotWithShape="1">
          <a:blip r:embed="rId5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65736" y="1285791"/>
            <a:ext cx="560267" cy="288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7" name="Picture 10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63" y="1212107"/>
            <a:ext cx="436216" cy="436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8" name="Picture 12" descr="http://upload.wikimedia.org/wikipedia/en/9/9d/LOGO_BBL_Eng.JPG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785" y="1243326"/>
            <a:ext cx="381568" cy="373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AutoShape 34" descr="data:image/jpeg;base64,/9j/4AAQSkZJRgABAQAAAQABAAD/2wCEAAkGBhAQEBUSERQWFRUWGBcWFBgXFBgbHxUeGBgXFxcWGxoXHCYhHR4kGxYYHy8gIycpLi0vGh4yODAqNSYuLCkBCQoKDgwOGg8PGiwlHyIsLyw0LTEsLyw0MCwsLC4tLCosNC8sLCwpLywsLCwsLCwsKSwsKiwsLCwpLCw0LCwsLP/AABEIAPwAyAMBIgACEQEDEQH/xAAcAAEAAgMBAQEAAAAAAAAAAAAABgcEBQgBAwL/xABPEAABAwIDBQQDCgkKBQUAAAABAAIDBBEFITEGBxJBURNhcYEikaEUIzIzQlJisbLBFjVDU1Vyc5LSFTZ0gpOis9Hh8CQ0RFSkF2OUo+L/xAAbAQABBQEBAAAAAAAAAAAAAAAEAAECAwUGB//EADcRAAEDAgQDBgQFAwUAAAAAAAEAAgMEEQUSITFBUWETcYGRwfAiobHRBhQycuEzQlIjJDSS8f/aAAwDAQACEQMRAD8AvFERJJEX5e8NBJIAAuSTYADUkqNVO8rC43cJqWkj5rXvH7zGkHyKYkDdWxwyS/oaT3C6k6LX4Tj9LVt4qeVkltQ05jxacx5hbBPe6g5rmmzhYoiIkooiLWY3tJS0TQ6olay/wRmXO8GtuT6kibKTGOecrRcrZooGd82HXtaa3Xsxb7d/YpNgW1VJWgmnlDyPhNzDh3lrgDbv0UQ9p2KIlo54hmewgdy2yIo7tHt5RUB4Znkya9mwcTh45gN8yE5IG6pjifK7KwEnopEirtm+2ivnDOB1tGfZxqX4BtRS1zC6nkDrfCacnNv1ac/PTvTB7TsVfNRTwjNIwgLaoiKSERERJJEWjxzbWhojwzzAP+Y27neYbe3nZamh3tYZK7hL3x30L4yB6xe3ibKJe0aXRLKSd7c7WEjuUyRfiGZr2hzCHNIuCCCCDoQRqF+1JDIiIkkiIsLGuP3NNwfD7OTh8eA29qSk0XICpbePt4+tldBE4inYbCx+NIPw3dRfQeeukJXiLPJJNyvS4IGQRiNg0Hu6+9FWyQvEkT3Me3MOabEf76K8d3u8Jle0QzENqWjTQSgaub39W+Yy0odfSnqHxva9ji1zSC1wNiCNCCpMeWlDV1BHVssdDwPvguqUUI3fbxGVzRDMQ2pA8BKB8pvQ9W+Yy0m6Na4OFwuCngfA8xyCxCx8RrmwQyTP+DGxz3eDQSfqXNON4zLWTvnmN3POnJo5NHcBkr53juIwupt8wD1vaD7Fzuh5jrZdN+H4m5Hy8b29UWVhuJS08rJoXFr2G7SPqPUHQjmFioh10pAcLFdB4ntoG4R7uZYOfGOAa2e48Fu/hdf90qgJ53PcXvJc5xJcSbkk5kk9VOK+U/g3Ti+Xupw8rTOt681A1bI4m3csnC6ZkIky/wCRHgNkWx2fxySiqGTxHNpzF8nt+Uw9xH3HktcvQqlqvaHtLXbFdT0tS2RjZGG7XtDmnqHAEH1FfVaXYpxOHUpP5mP2NAW6WgDcXXmUrcjy3kSEVb7x95QgDqWkdeXSSQH4rq1p+f3/ACfHT57yd5PY8VJSO980lkB+L6safn9T8nx+DT6okk4BdHhWE5rTTjTgPU/ZeveSSSSSTck8ydSV+URDLrFON2e2z6SdsEjiaeVwbYn4tzjYPHQXOfr5K9VypG0kgDMk2HidF1TECGi+thf70VCSRZcfj8DGSNkbu69/C2vzX6REV65xEREklQG8TYx9BUF7G/8ADyOJjcNGk5mM9CM7dR4G0RXUmI4dFUROimaHseLOB5/5EagjRUHtzsNLhstxd8Dz72/pz4HW0cPbqOYAkkdtQu1wrExOBFJ+ofP+VF0RFSt9fuGZzHBzCWuaQWkGxBGYII0KvLd1vBFc3sZyG1DR3ATAfKA+cObfMZXAopfSnqHxva9ji1zSC1wNiCNCCpseWlAV1CyrjyncbHl/C6D3k/iqp/Vb9ti54VpzbftxDCKmKWzahkbSeQlAez029D1b5jLSrFKUgkEIPBoHwRvjkFiHegRERVLbU5r/AObdP/S3fZmUGU5r/wCbdP8A0t32ZlBlN3DuQNFs/wDe76ovQvF6FBHLpDYj8W0v7GP7IUQ3l7x+x4qSkd75pLID8X1Y0/P6n5PjpqcT3i+5sNpqWld78YIxI8H4oFo9EfT+z46VoTfMq90mgAXMUOFZ5nTzDS5sOeu56fVF4iKhdOiIpzu83eOrnCecFtM0+BmI+S3o3q7yGdyHAJNgqJ6hlOwySHQLJ3VbEvnmbVyttDGbx3/KPByI+i0536gDra61+IYWsaGMAa1oAaALAAZAADQL9o1jcosvP66sdVy53bcByCIiKaCRERJJFjYjh0VRE6KZoex4s4H/AHkRqCNFkoknBINwuetudhpcNluLvgefe39PoP6OHt1HMCLrqTEcOiqInRTND2PFnA/7yI1BGioXbjYSXDpOIXfA4+9v6c+B/R3fobeIAkkeXUbLtcLxQVA7KX9f1/lRVERUreXq8REkkRbnDNlKidnakNih/OzPEbPInN39UFZX8mYXF8bVyzHmKeCw8nzOF/HhT2KHNQwGw1PQE/TbxW2r/wCbdP8A0t32ZlBlO5tpsKdQsoezqxGyTtA+8PFxHizIva1nEW9q0owrDZfiqx8R5CopyB5vic4D1KR1tZC0zzGHZ2kXcTsToT0uo8i3GJ7K1MDO1LWyQ8ponCRh/rN+D/WAWnUbWR7HteLtN0RETKaIinm7rd06tcKioBFODkNDMRyHRoOp56DmQ4BcbBD1FQynYZJDp70Xz3ebvHVzhPOC2mafAzEfJb9Hq7yGdyLyhhaxoYwBrWgBoAsABkAANAkEDWNDGANa0ANAFgAMgABoF+0axgaFwVdXPq35nbDYcv5RERTQCIiJJIiIkkij+I7e4bTu4ZKllxqG8T7dx7MGygO9vbSTtTRQuLWNA7Yg2Ly4X4Lj5IBFxzJ7lWCofLY2C6ShwQTRiSVxF9gOS6B/9U8J/wC4/wDpm/gWPiO8LBKiJ0U0wex4s5phmz/uZEHMHkQFQyKvtnLRGA04Nw53mPsthjlLTxzOFNN20WrHcLmkD5rg5ozHUZHu0GvRFSt1oygC91+mMJIAFycgBz7lIxFBhw99Y2ar/Nuzjp/2g/KSfQ0bzucl5RAUFO2oP/MzA+5gfyLM2uqP1nG7WdLOd0Ucc4k3OZOqfZD/ANYkf2j5/wAfXu3ysSxaepf2k8jpHdXHQdANGjuAAWIvVMcC3VV9SA9zWwMOYMtwSO5gF/XZIAnZSkmip2/GQ0e9lDUVqjcWbf8ANi/7D7+0WixrdHX04Lo+Gdo/N34v3Ha+DSSpGNw4IaPFKSQ5WvHzH1UUwrGZ6V/HBI5h52OTh0c05OHcQVvPc0GJD3ljYKzUxNyjqOvZ3+Lf9DQ8rKMPYQSCLEZEHl3Ix5BBBIIzBHK2hUQUU+IOOdujuf35j2LJJGWktcCCCQQRYgjIgg81+VKMSAr6Y1YA90Q2FUB+VacmVFvnX9F9u45KLpEKUUmca6EaEdfeo6LabOto+3BrXPETcy1jbl/0b3HCOp16a3FuQb3cLY0MYJWtaAGgRAAAZAAB2QVHopNeW7ISqw+OqIMhOnC+ivT/ANY8N/8Ae/s//wBLOwzedhk5DRN2bjoJGln94+j7Vz6in2zkC7AaYjQkeP8AC6sa4EXC9VQbn9rZBL7hkcXMcHGG/wAgtHEWj6JFzbkR3q30Sx2YXXK1lI6llMbvA8wiIikg0RESSXNu21/5Rqr/AJ6T7Rt7LLSKy97mx0jZjWxNLo3gdtYfFuAA4iB8kgDPre+oVaIB4sSvR6GZs0DHN5AeIRERRRqLZbO4T7qqooL2D3ekfmtHpPd5NBK1qkmyA4Iq2fnHSuY09DM5sYPqLvWnG6oqHlsZI32HedB81rtosV901L5ALMvwxN+ZGwcMbQO5oHtWsXq2+yGEiqroIXC7XPHGOrWgvcP3WkJblOS2GO/Bo+QVl7r937Io2VlQ0GRwDoWnSNpza+3zjqOgtz0speAL1HNaGiwXnVVUvqZDI/8A8HJERFJDKBbytgWVUTqmBtqhgu4NHxwGoIGrwNDz06Wo9dWrnXeDhIpsRnY0WaXCRo6B4DreAJI8kNM22oXW4FWOfeB52Fx3clibKYqKaqY5+cbrxzA6Ojk9F4PXI38QFj4/hRpaqWA/k3loPUatd5tIPmsBSjb0cb6WfnNSQPeergCx32QqeC3XfDOD/kCPEaj1UWReooopeIvUskkpHu5BOKU1vnn1cDr+y66JVX7p9hpYXe7KhpYS0thY4WI4vhPI5ZZAd57laCLhBDdVwuNTslqPgN7C3iiIiuWKiIiSSw8VxSCmiMs72sYNS7n3ADMk9Aqcx/avBZHkx4dx/S7QwX7+GO/tzWNvXx99RXuiv73B6DRy4rAvdbrc8Pg0KFIWSS5sF2WGYW1kYleTci9gSNPDVSj+X8K/Rn/mzfwp/L+Ffoz/AM2b+FRdFVmPsLY/Ks5u/wC7vupR/L+Ffoz/AM2b+FbamxKjmwyvZTUvudwbC5x7Z0nG0Styu4Ai3d1UBUo2A98nmpj/ANTTywtv87h42H1s9qcE3Q9RTsZHnBd8JB/U47EHibKLqVbr5g3Fae/PtG+ZjeB7cvNRZzSDY5Ea9y++H1roJWSs+FG5r2+LSCPqUQbG6Lnj7WJzBxBHmF1KiwsFxaOrgjniN2vaCO482nvBuD4LNWgvNHNLSWncIiIkooqh3k7SwxV7o3UkEzmsYC+QOvmOK3ouGVnD1q1cSxGOnhfNKeFjGlzj4ch1J0A5khc041ijqqolnfrI4ut0B0b5Cw8lRM6wsugwOl7WRz3bAW5albn8Lqf9HUnqk/iUi2o2ohjp6IOoad5dAJAHB1o2uJDWNsb29G+ZKrqCBz3NY0Xc4hrR1JNgPWVIt4MzfdnYsN200cVO0/s22d/eLlQCbFdDJSxmZjdeJ3Pdz6p+F1P+jqT1Sfxp+F1P+jqT1SfxqMoo3KJ/KxdfM/dSb8Lqf9HUnqk/jW72d3kUdO8F2Hws+nDbiHhxi/8AeCr5E4cQoSUMMjcrgfM/ddPYLjkFZEJad4e05HkWnm1wOYKz1RG6TGnQYg2K/oTgscOVwC5jvG4I/rFXujGOzC64jEaP8pNkBuDqEREU1noiIkkucdvaYx4lVB3OVzvJ/pj2OC0CvHeRu9dXWnp7Cdo4S0mwlA0F9A4XyJ10ysFTWIYRUU7uGaJ8Z+k0i/hfXyQT2lpXoOHVkc8LQD8QFiO5YaL3hKcJVa0l4vvQ1j4ZWSsNnMc17T3tNx9S+Nl4kkQCLFSfbjD2do2sgHvFWDI36D/ysZ7w658+5RhSXZfG4Qx9FWX9zTG4cMzTyDJsze7k4dPMHXbQbPTUUvBIAQfSje3NsreT2nmLW8FI66oSB3ZnsX7jbqPuNj58Vt9hdvZMNeWkF8Dzd7L5tOnGy+V9LjnYaaq7sE2mpa1odTytf1bezm+LTmPqXMy/TXEG4NiNCOSmyQt0QddhMVUc4OV3Pn3rqta7GdoaWjZx1ErWdAT6Tv1WjM+QXOg2irAOH3RPbp2z7eriWBJIXElxJJ1JNyfMqZn5BZsf4e1+N+nQKXbebwZMRd2cYLKdpu1p1eeTn29jeXeoei22z+z0lW85iOJg4ppnfBib1PUnk3U+0UklxXQsZFSxWbo0e/ErZ7FwNh7TEJR6FMPegfykzh72zy+GbaWCjU8znuc9xu5xLnE8yTcn1rdbTY6ybggpwWUsFxE06vJ+FK/q5x9Qy6rQpHklC0kmRwsTw5AbDv4ny4Ii+1PRySXEbHPtrwtLreNgvv8AyLU/mJf7J/8Akoq4vaNCVhIs3+Ran8xL/ZP/AMlm4bsbX1Dg2Onl8XMLWjxc+wT2UXTRtFy4eazt2dK6TFKe3yS557g1jvvsPNdCqIbv9gm4axz5CHzvFnEaMGvA2+ZzzJ52HRS9FxNyjVcNi1WypnuzYC3eiIitWSiIiSSLwheokkvOEdFptqdpYMPgMsuZ0jYLXkd0Hd1PIeQP62n2ngw+AyynPRjBrIeg+88lz9tFtFPXTmaY56NaNGDk1o/3dVSSZdButnDMNdVOzv0YPn0C/GP49NWzummN3HIAaMHJrRyAv9Z1K1yIg13DWhjQ1osAikeB7W9nF7lq4/dFKTfgJs6I/Oid8k92nhcqOInBsoyRNkGVw99OSlz9iYqr08MnbNz7CQiOZvdY2a/xFvNaCvwGqpzaaGRn6zHAeRtY+SwQbLeUO3GIwC0dTLYaBzuMDyfdPoqck7P0kOHXQ+Y+y0dlscO2cq6j4mCV/eGG3m45DzKnlTttWuwVtR2gExquxMjWNBLQxz+QsDcAXAUDrto6ycWmqJXg8nSOI/dvb2JyAFCKaaW9mgWJG5O3gPqts3ZulpfSr528Q/6encJHnue8egz1krCxzad9QwQxsbBTMN2Qs0v857jm9/0itIijfkrmwfFmebn5DuHqbnqiIiZELPwXGpqOZs0DuFzfU4c2uHMHp966C2S2thxGHtI8niwljJzYfvaeR5+IIHNy2GBY7NRTNmgdZw1HJw5tcOYP+uoVjH5Vk4jhzattxo4bH0PvRdOotHsltbDiMHaR5PFhLGTmw/eDyPPxBA3iMBvqFwkkbo3FjxYhERE6giIiSSIiJJItRtPtPBh8BllOejGDWQ9B955JtPtPBh8BlmOejGDWQ9B955Ln3aPaOevnM0xz0a0aMHJrR/u6qkky6DdbGG4a6qdnfowfPoE2i2inrpzNMc9GtGjBya0f7utWiITddyxjWNDWiwCIi2GBYHNWztghbdztSdGgauceQH+Q1KZO5wYC5xsAsamoZJA8saXBjS95GjWjUk+YC+CvHFNlIcOwWpjizcY7yPIzkOWfcBnYcvEkmj1NzcqCoqwVYc5o0BsOum68REUEephJ/N5n9OP+C5Q9TCT+bzP6cf8ABcoepO4IOl/v/cUXq8XoUUYsmtwyWEMMjS0SMbJGeTmuFwQfYeixVfeHbMwV+DU0Uw/IsLHjWM8I9IfeOapfaHZ6ehnMMzbEZtcNHjk5p5j6tCpuYWi6zKPEGVDnRnRzSdOfULWIiKC01sMCx2aimbNA6zhqOThza4cwf9dQugdktrYcRh7SPJ4sJIyc2H7weR5+IIHNy2GBY7PRTNmgdZw1HJw5tcOYP+uoVjH5Vk4jhzattxo8bH0PvRdOotFsjtdBiMPHH6L22EkZ1YT9bTY2PO3I3C3qMBvqFwkkbo3FjxYhERE6gi8JXq+VVFxsc29uJpF+lxa6ScLnTbPaR9fVvlJ9AEtiHzWA5eZ+Ee8rRL6TwOjc5jxZzSWuB5EGxHrC+azyb6lenxMbGwNZsAiIs/BMEmrJmwwN4nu9TRzc48gOv3myZSc4NBc42ATBMEmrJmwwN4nO9TRzc48gOv3my6A2Q2Qhw6HgZ6T3WMshGbz9zRyH3klNkNkIcOh4Gek91jLIRm8/c0ch95JW+RkceXU7rh8TxM1J7NmjB8+v2Cj+34vhlVb80fuXOa6U2xhL8PqmtFyYZLDr6JNlzWqpt1rfh8/6Lx19F4iIqF0imEn83mf04/4LlD1P3YU87NB9shU9t/Vzhv6yoApu4dyBo3B3aW/zKL0LxeqCOXSGw/4tpf2Mf2Qv3tTstBiEBilFiM43gZxnqOo6jn6iPrstSmKhpo3ZFsMYcOh4RcetbRHgfDYrzSSRzJ3PYbG5IPiuZdodnp6GcwzNsRm0jR45OaeY+rQrWLpTanZaDEIDFKLEZxvAzjPUdR1HP1Ec/bQ7PT0M5hmbYjNpGjxyc08x9WhQj2Ze5dphuJNq25XaPHDn1C1iIirWut1shtC6hq45gTw34ZR85hI4h5ajvAXSQK5boKJ88rImC7pHBjfFxsuo42WaB0AHqRMF9VyP4hawPY4bkHy4eq/SIiIXMoiIkkq13kbtXVDjVUgHaH42PTtLfLby4uo5+OtRVVJJE4skY5jhq1zS0jyK6nX5c0HUXVLogTcLdo8akgYI3tzAba2Pquctntia2ucBFGQznI8FrB5nXwbcq8dkdkIMOh4I/Se6xkkIzefuaOQ+sklbwvAFychmSsTCsZgqmdpTyNkbcglp0I5HmP8AVOyMN71TW4lPVttazRy9Ss1ERWrIXhF1Qu3e7+aildJEwvpnEua5oJ7MH5D+ltATkRbncK+0UHsDgj6GufRvzN1B3C5SW/2V2NqcQkAjaWx39OUj0WjnY/Kd9EewZroJ+D05PEYYiepjbf12WW1oGQVQg5lbMv4gJbaNljzJv6LXjAYPcnuTh957Psrd1ra9ed+uaonarYGroZHeg6SG/oytaSLcuK3wT4+V10OisfGHLJosSlpXEjUHcH6rlRrSTYZnoFPdgd209RMyapjMcDSHcLxYykZhoac+HqTqMhrcXWImg3AF+tl+1BsIB1WhUY9JIwtjblvxvfy0CIiK9c6i0+1Gy0GIQ9lMLEZxvHwoz1HceY5+ojcImIvoVNj3RuDmGxC57x/dvX0jj72ZmcnxAuy72j0m+Yt3laii2brJncMcErje2UbrDxJFh5ldNrwlUmAc10DPxBKG2c0E81BN3m7gUPv9RZ05FmgZiIEZ2PNxGRPiB1M8UNx3enQ0z+zYXTvvYiKxA7uImxPcL+SmQVjMo0Cyaw1D3CWcH4tvDl0RERTQSIi+FdVthifK74LGue7waCT7AknAJNgoZvD3jCg94gAdORck5iIHQkc3HUDzPIGHYDsniWMjt6moe2In0S+54ra8EYIaBfnkOl1EoOPEK5vaH06iZocenG4A27gDl4LpOmp2xsaxgDWtAa0DkALAepDt/wBQ3Oy6apy4ZE1kQHaHd2/kqhxndRW0kbn0c7pfRIext2OLTqAA4h4tf0efQrG3NYuYq10BPozMNh9KO7h/d4/YrsUOqt3MZxKOuik7OzuORgbk88yCCLcXPI3z6pzHYgtQ8eKdtC+Gp4jQ248L2UxRfiSVrWlziAALkk2AA1JJ0UZn3m4Ux3CakEjL0WSOHra0g+SuJA3WLHDJL/TaT3C6lKLX4Rj9NVtLqeVsgGtjmPFpzHmF96rE4IvjZY2WFzxva2w65lK4UTG4OykG/JZKLV4btRR1PGYZ2PEfwyDbhvobm2WWui+1Nj1LI7gjnhe75rZWE+oG6VwnMTxcFp06LORfiaZrGlzyGtGZJIAHeSVUu8jeTxubDQTOAYeKSSN1uIj4LWkagZk8jlrZRc8NFyiKSjkqn5GefAK3UWswLGo6iCJ3GwvfGx5aHC9y0F2QPI3WZUV0UYJkexgAuS5wFh1NypXQzmOa7KRqvui12D7QU1YHGnlbIGHhda+R5agZHrobFfemxWCVxZHLG9zfhNa9ri3lmAbhK4SdG9pIIOiykWvxjaClo28VRK2MHQE5u8GjM+QUabvewzitxyW+d2Trf5+xMXAblWx0s0ozMYSO5TVQLe1hNXLTdpFNwwxNc6WO7h2mYscsnWHIqZ4bikNTGJIHtkYebT7D0Pcc1qdv/wAWVX7J33Jn6tKso3OiqWaa3A1Hgqh3VU7X4pFxC/CJHC/UNNj5Xv6lfyoXdJ+NGfqSfZV9KEP6VpY8f9yP2j6lERFcsFFpNtfxdVW/MyfZK3a+FfSNmifE74L2uYfBwLT7CmIuFZE4Me1x4ELm/ZSqEVfTPOQbNHc9BxAE+orpdctV9E+CV8Ugs+NxY7xabFX7u/2tZX0rbu9+jAbM3ncZB/g7XxuOSHhO4XT49CXtZO3UbfZShERErlFTW9zauSWo9xREiOO3aAflHmxAPUNuMut+gUmo90dBHS8M9zLw3fL2hbwG2ZaL8Nh9IFVVtfxNxGqvr28p/vkj2WUswvBMVx0drPOWU5Nhf4Jsc+CJtgbHLiPMak3QgN3G4uV2UsBhposkmRo1J4km3nx0Ub2KrJKfE4Oyde8rYnW0e1zg13iLZ+QPJTfe7sdE1jq9jnCQvY2RpNwQRwgjK4OTedlLNl93VHQOEjQ6SXlI8j0b5HhAyHjme9Ym938Vv/Xj+0p5LMN0G7EGzV0boejSeYuqw3e7IDEahzXuLYo28UnDq65s1ovpfM37is/eLu/GHcE0BcYXHhIcbmN1iRmLXBANjyt4Lc7jPjKr9WL65FLt6jAcKnvyMZHj2rB9RKiGAx3RE9dLHiIiB+G4Fu+33Ud2GrBjNDLRVjnOMRYQ8Os4tz4SSb3LS0i5BuCOearra7AhQ1ktO1xeGcNiRYkOa14vbmOKyl+5CM+6p3chEAfEvFvqK0m9T8bT+EX+ExRdqwFE014q+SFp+G2a3XRT/ZDdbBA+CrMsjnta19vRDbub3Z2F9L5rSb39kI471zHO4pJGtew2IzYbOadR8AZZ68tFaGD/APLw/s2fZCh2+f8AFzf2zPsyK5zGhixKSsmfWtLnbm3hfZVlsbSVlU99FTP7Nk1nTn6LLjMjO3p24eZIut9geydRh2NU8bruaXEtkaCA9vC7i8Lc2/cQtpuMgF6p/MCJo8D2hP1D1Kz8Rr2QRPmkNmRtL3eDRfLvUGRgtBKNxDEHx1D4GtBBFu8kb+iqDHN3+J1mJSl7bMdISJXOBa2O54LC9zZthwjn01UrxTYzB6Cid27G/BPpuPvj3Wy4PpX5AW65XUIq9u8UxOpENM50XGbRxxHhIGt3P1NgLk3AyOQWzxfdbJHSzVVZVl8jI3OsAXXIHotL3m5ubDQJhbUtF1bIJR2bKiUM2s1t7n35LWboMSkjxFsTT6ErXh45HgaXtPiLW8CVam3/AOLKr9k77lUG6n8aw+Ev+E9W/t/+LKr9k77lKP8AplDYqAMQjtxy/VVLuk/GjP1JPsq+lQu6T8aM/Uk+yr6Uof0ofHv+SP2j6lERFcsJEREklXW83d46r/4qlF5gLSM/OgZAj6QGVuYtzGdR0lZUUk3FG58UrDbm0jqCD7QV1CsDEcBpan4+GOQ8i9jSR4Ei4VL4rm4W7RYwYY+ylbmb6cuoVLt3v4mG8JdGT84xC/sPD7FtdndncVxOeOprJJGwsc144/R4uEg2jjFgL/OsPNWdQ7L0UDuKKniY7k4RtuPA2uFtEhGf7immxOJoIpog0njYX8FVG9jYaV8hradpfcDt2tFyC0WEgA1FgAbaWvzNo7sfvOmw+LsHRiaMElgLi0subkA2OV7m1tSc1fKwpsEpnu43wROd84xsJ9ZF0jGb3aU0OKNMAgqGZgNtbKtMN2pxnFp2+5gKeBrgXuAuLA5hz3D0zb5LQO/qvvvg2sh7M0DLuk4mOkNsmC3EBfm43aelirQawAWAsBoByWFWYFSzO4poIZHaXfExx8LuBTlhta6qZXQidr+zs1uwHPmTxVMbrNq4KGeRs/EBNwNDgLhpBPwhrb0tRfTRSzfVjQZTx0wPpSO43Do1ml/FxH7pUtrMIw2kjdUPp6eNsY4y4QRgi2lrNve+QtzsqvwnB58fxB9TKC2na4A9zW/BhaebrZkjS5PMAwILW5Oa0Y5Yaio/OEFrWb34ngB75KS7sKNlBhstbP6Ik98OWfAy4Zl1JLiPEKs9sccbW1stQwFrXloaDrZrWsBPeeG9u9dHCmZwdnwt4LcPDYWta3DbS1srLD/Buj/7aD+xj/hUnRkgAIWnxRkc753tJc7rsOXyWi2B21grYmwt4mzRxt7RpGXo2aXNOhF7d+aim97a6CVnuKPic9kgdI61mt4WuHCOp9LwyVoUmGww37KKOO+vAxrb20vwjNfCq2do5XF8lPA9x1c6FjieWZIupFri210LDU08dT22Q23AvxVO7rtsqegfK2o4g2Xgs8C4aW8XwgM7elqL6K3dp8LNVRTQsPpSMIb0vq2/dcBes2VoAQRS04IzBEEeVtD8FbRJrSBYpVtZHNMJ4wQeN+lrLmjC8RqMNqxIG8MsRIcx4PMWc1w7wfvUn2m2/rcSpXsZB2cLeF07mkuBs4cILiAAOKxtqbDvVzVeFwTEGWKOQjQvY11v3gv3JQROjMTmNMZHCWcI4SOltFAREaXR8mLwyPbK6L4hxv78L7LnTY7Hm0NbHUPaXNbxBwba9nMc3K+WV7q0t4u21MKEwjiMlTC1zG8NuFsmYc8nTIHLXLzUvotnaSEWigiYO6NufibXK+lbglNOQ6aCKQgWBfExxA6AuByTtjcGkXVVRiME87ZXMPw9d7ahUFsDjkVFXxzTXDLPa4gX4eJpANhmc7aLoWmqWSsbIw8TXtDmkcw4XB9RWu/BLD/+0pv/AI8f8K2jGBoAAAAFgALAAaABSjYW6IbEqyOreHtaQdl+kRFYstEREkkRESSRERJJEREkkRESSWBjeCQ1kXYzglhLXEBxbfhNwCRnZZFHRRwxtjiaGMaLNa0WAX3RNbip53Zct9OSIiJ1BEREkkRESSRERJJEREkkRESSRERJJf/Z"/>
          <p:cNvSpPr>
            <a:spLocks noChangeAspect="1" noChangeArrowheads="1"/>
          </p:cNvSpPr>
          <p:nvPr/>
        </p:nvSpPr>
        <p:spPr bwMode="auto">
          <a:xfrm>
            <a:off x="190500" y="-2127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42" name="AutoShape 36" descr="data:image/jpeg;base64,/9j/4AAQSkZJRgABAQAAAQABAAD/2wCEAAkGBhAQEBUSERQWFRUWGBcWFBgXFBgbHxUeGBgXFxcWGxoXHCYhHR4kGxYYHy8gIycpLi0vGh4yODAqNSYuLCkBCQoKDgwOGg8PGiwlHyIsLyw0LTEsLyw0MCwsLC4tLCosNC8sLCwpLywsLCwsLCwsKSwsKiwsLCwpLCw0LCwsLP/AABEIAPwAyAMBIgACEQEDEQH/xAAcAAEAAgMBAQEAAAAAAAAAAAAABgcEBQgBAwL/xABPEAABAwIDBQQDCgkKBQUAAAABAAIDBBEFITEGBxJBURNhcYEikaEUIzIzQlJisbLBFjVDU1Vyc5LSFTZ0gpOis9Hh8CQ0RFSkF2OUo+L/xAAbAQABBQEBAAAAAAAAAAAAAAAEAAECAwUGB//EADcRAAEDAgQDBgQFAwUAAAAAAAEAAgMEEQUSITFBUWETcYGRwfAiobHRBhQycuEzQlIjJDSS8f/aAAwDAQACEQMRAD8AvFERJJEX5e8NBJIAAuSTYADUkqNVO8rC43cJqWkj5rXvH7zGkHyKYkDdWxwyS/oaT3C6k6LX4Tj9LVt4qeVkltQ05jxacx5hbBPe6g5rmmzhYoiIkooiLWY3tJS0TQ6olay/wRmXO8GtuT6kibKTGOecrRcrZooGd82HXtaa3Xsxb7d/YpNgW1VJWgmnlDyPhNzDh3lrgDbv0UQ9p2KIlo54hmewgdy2yIo7tHt5RUB4Znkya9mwcTh45gN8yE5IG6pjifK7KwEnopEirtm+2ivnDOB1tGfZxqX4BtRS1zC6nkDrfCacnNv1ac/PTvTB7TsVfNRTwjNIwgLaoiKSERERJJEWjxzbWhojwzzAP+Y27neYbe3nZamh3tYZK7hL3x30L4yB6xe3ibKJe0aXRLKSd7c7WEjuUyRfiGZr2hzCHNIuCCCCDoQRqF+1JDIiIkkiIsLGuP3NNwfD7OTh8eA29qSk0XICpbePt4+tldBE4inYbCx+NIPw3dRfQeeukJXiLPJJNyvS4IGQRiNg0Hu6+9FWyQvEkT3Me3MOabEf76K8d3u8Jle0QzENqWjTQSgaub39W+Yy0odfSnqHxva9ji1zSC1wNiCNCCpMeWlDV1BHVssdDwPvguqUUI3fbxGVzRDMQ2pA8BKB8pvQ9W+Yy0m6Na4OFwuCngfA8xyCxCx8RrmwQyTP+DGxz3eDQSfqXNON4zLWTvnmN3POnJo5NHcBkr53juIwupt8wD1vaD7Fzuh5jrZdN+H4m5Hy8b29UWVhuJS08rJoXFr2G7SPqPUHQjmFioh10pAcLFdB4ntoG4R7uZYOfGOAa2e48Fu/hdf90qgJ53PcXvJc5xJcSbkk5kk9VOK+U/g3Ti+Xupw8rTOt681A1bI4m3csnC6ZkIky/wCRHgNkWx2fxySiqGTxHNpzF8nt+Uw9xH3HktcvQqlqvaHtLXbFdT0tS2RjZGG7XtDmnqHAEH1FfVaXYpxOHUpP5mP2NAW6WgDcXXmUrcjy3kSEVb7x95QgDqWkdeXSSQH4rq1p+f3/ACfHT57yd5PY8VJSO980lkB+L6safn9T8nx+DT6okk4BdHhWE5rTTjTgPU/ZeveSSSSSTck8ydSV+URDLrFON2e2z6SdsEjiaeVwbYn4tzjYPHQXOfr5K9VypG0kgDMk2HidF1TECGi+thf70VCSRZcfj8DGSNkbu69/C2vzX6REV65xEREklQG8TYx9BUF7G/8ADyOJjcNGk5mM9CM7dR4G0RXUmI4dFUROimaHseLOB5/5EagjRUHtzsNLhstxd8Dz72/pz4HW0cPbqOYAkkdtQu1wrExOBFJ+ofP+VF0RFSt9fuGZzHBzCWuaQWkGxBGYII0KvLd1vBFc3sZyG1DR3ATAfKA+cObfMZXAopfSnqHxva9ji1zSC1wNiCNCCpseWlAV1CyrjyncbHl/C6D3k/iqp/Vb9ti54VpzbftxDCKmKWzahkbSeQlAez029D1b5jLSrFKUgkEIPBoHwRvjkFiHegRERVLbU5r/AObdP/S3fZmUGU5r/wCbdP8A0t32ZlBlN3DuQNFs/wDe76ovQvF6FBHLpDYj8W0v7GP7IUQ3l7x+x4qSkd75pLID8X1Y0/P6n5PjpqcT3i+5sNpqWld78YIxI8H4oFo9EfT+z46VoTfMq90mgAXMUOFZ5nTzDS5sOeu56fVF4iKhdOiIpzu83eOrnCecFtM0+BmI+S3o3q7yGdyHAJNgqJ6hlOwySHQLJ3VbEvnmbVyttDGbx3/KPByI+i0536gDra61+IYWsaGMAa1oAaALAAZAADQL9o1jcosvP66sdVy53bcByCIiKaCRERJJFjYjh0VRE6KZoex4s4H/AHkRqCNFkoknBINwuetudhpcNluLvgefe39PoP6OHt1HMCLrqTEcOiqInRTND2PFnA/7yI1BGioXbjYSXDpOIXfA4+9v6c+B/R3fobeIAkkeXUbLtcLxQVA7KX9f1/lRVERUreXq8REkkRbnDNlKidnakNih/OzPEbPInN39UFZX8mYXF8bVyzHmKeCw8nzOF/HhT2KHNQwGw1PQE/TbxW2r/wCbdP8A0t32ZlBlO5tpsKdQsoezqxGyTtA+8PFxHizIva1nEW9q0owrDZfiqx8R5CopyB5vic4D1KR1tZC0zzGHZ2kXcTsToT0uo8i3GJ7K1MDO1LWyQ8ponCRh/rN+D/WAWnUbWR7HteLtN0RETKaIinm7rd06tcKioBFODkNDMRyHRoOp56DmQ4BcbBD1FQynYZJDp70Xz3ebvHVzhPOC2mafAzEfJb9Hq7yGdyLyhhaxoYwBrWgBoAsABkAANAkEDWNDGANa0ANAFgAMgABoF+0axgaFwVdXPq35nbDYcv5RERTQCIiJJIiIkkij+I7e4bTu4ZKllxqG8T7dx7MGygO9vbSTtTRQuLWNA7Yg2Ly4X4Lj5IBFxzJ7lWCofLY2C6ShwQTRiSVxF9gOS6B/9U8J/wC4/wDpm/gWPiO8LBKiJ0U0wex4s5phmz/uZEHMHkQFQyKvtnLRGA04Nw53mPsthjlLTxzOFNN20WrHcLmkD5rg5ozHUZHu0GvRFSt1oygC91+mMJIAFycgBz7lIxFBhw99Y2ar/Nuzjp/2g/KSfQ0bzucl5RAUFO2oP/MzA+5gfyLM2uqP1nG7WdLOd0Ucc4k3OZOqfZD/ANYkf2j5/wAfXu3ysSxaepf2k8jpHdXHQdANGjuAAWIvVMcC3VV9SA9zWwMOYMtwSO5gF/XZIAnZSkmip2/GQ0e9lDUVqjcWbf8ANi/7D7+0WixrdHX04Lo+Gdo/N34v3Ha+DSSpGNw4IaPFKSQ5WvHzH1UUwrGZ6V/HBI5h52OTh0c05OHcQVvPc0GJD3ljYKzUxNyjqOvZ3+Lf9DQ8rKMPYQSCLEZEHl3Ix5BBBIIzBHK2hUQUU+IOOdujuf35j2LJJGWktcCCCQQRYgjIgg81+VKMSAr6Y1YA90Q2FUB+VacmVFvnX9F9u45KLpEKUUmca6EaEdfeo6LabOto+3BrXPETcy1jbl/0b3HCOp16a3FuQb3cLY0MYJWtaAGgRAAAZAAB2QVHopNeW7ISqw+OqIMhOnC+ivT/ANY8N/8Ae/s//wBLOwzedhk5DRN2bjoJGln94+j7Vz6in2zkC7AaYjQkeP8AC6sa4EXC9VQbn9rZBL7hkcXMcHGG/wAgtHEWj6JFzbkR3q30Sx2YXXK1lI6llMbvA8wiIikg0RESSXNu21/5Rqr/AJ6T7Rt7LLSKy97mx0jZjWxNLo3gdtYfFuAA4iB8kgDPre+oVaIB4sSvR6GZs0DHN5AeIRERRRqLZbO4T7qqooL2D3ekfmtHpPd5NBK1qkmyA4Iq2fnHSuY09DM5sYPqLvWnG6oqHlsZI32HedB81rtosV901L5ALMvwxN+ZGwcMbQO5oHtWsXq2+yGEiqroIXC7XPHGOrWgvcP3WkJblOS2GO/Bo+QVl7r937Io2VlQ0GRwDoWnSNpza+3zjqOgtz0speAL1HNaGiwXnVVUvqZDI/8A8HJERFJDKBbytgWVUTqmBtqhgu4NHxwGoIGrwNDz06Wo9dWrnXeDhIpsRnY0WaXCRo6B4DreAJI8kNM22oXW4FWOfeB52Fx3clibKYqKaqY5+cbrxzA6Ojk9F4PXI38QFj4/hRpaqWA/k3loPUatd5tIPmsBSjb0cb6WfnNSQPeergCx32QqeC3XfDOD/kCPEaj1UWReooopeIvUskkpHu5BOKU1vnn1cDr+y66JVX7p9hpYXe7KhpYS0thY4WI4vhPI5ZZAd57laCLhBDdVwuNTslqPgN7C3iiIiuWKiIiSSw8VxSCmiMs72sYNS7n3ADMk9Aqcx/avBZHkx4dx/S7QwX7+GO/tzWNvXx99RXuiv73B6DRy4rAvdbrc8Pg0KFIWSS5sF2WGYW1kYleTci9gSNPDVSj+X8K/Rn/mzfwp/L+Ffoz/AM2b+FRdFVmPsLY/Ks5u/wC7vupR/L+Ffoz/AM2b+FbamxKjmwyvZTUvudwbC5x7Z0nG0Styu4Ai3d1UBUo2A98nmpj/ANTTywtv87h42H1s9qcE3Q9RTsZHnBd8JB/U47EHibKLqVbr5g3Fae/PtG+ZjeB7cvNRZzSDY5Ea9y++H1roJWSs+FG5r2+LSCPqUQbG6Lnj7WJzBxBHmF1KiwsFxaOrgjniN2vaCO482nvBuD4LNWgvNHNLSWncIiIkooqh3k7SwxV7o3UkEzmsYC+QOvmOK3ouGVnD1q1cSxGOnhfNKeFjGlzj4ch1J0A5khc041ijqqolnfrI4ut0B0b5Cw8lRM6wsugwOl7WRz3bAW5albn8Lqf9HUnqk/iUi2o2ohjp6IOoad5dAJAHB1o2uJDWNsb29G+ZKrqCBz3NY0Xc4hrR1JNgPWVIt4MzfdnYsN200cVO0/s22d/eLlQCbFdDJSxmZjdeJ3Pdz6p+F1P+jqT1Sfxp+F1P+jqT1SfxqMoo3KJ/KxdfM/dSb8Lqf9HUnqk/jW72d3kUdO8F2Hws+nDbiHhxi/8AeCr5E4cQoSUMMjcrgfM/ddPYLjkFZEJad4e05HkWnm1wOYKz1RG6TGnQYg2K/oTgscOVwC5jvG4I/rFXujGOzC64jEaP8pNkBuDqEREU1noiIkkucdvaYx4lVB3OVzvJ/pj2OC0CvHeRu9dXWnp7Cdo4S0mwlA0F9A4XyJ10ysFTWIYRUU7uGaJ8Z+k0i/hfXyQT2lpXoOHVkc8LQD8QFiO5YaL3hKcJVa0l4vvQ1j4ZWSsNnMc17T3tNx9S+Nl4kkQCLFSfbjD2do2sgHvFWDI36D/ysZ7w658+5RhSXZfG4Qx9FWX9zTG4cMzTyDJsze7k4dPMHXbQbPTUUvBIAQfSje3NsreT2nmLW8FI66oSB3ZnsX7jbqPuNj58Vt9hdvZMNeWkF8Dzd7L5tOnGy+V9LjnYaaq7sE2mpa1odTytf1bezm+LTmPqXMy/TXEG4NiNCOSmyQt0QddhMVUc4OV3Pn3rqta7GdoaWjZx1ErWdAT6Tv1WjM+QXOg2irAOH3RPbp2z7eriWBJIXElxJJ1JNyfMqZn5BZsf4e1+N+nQKXbebwZMRd2cYLKdpu1p1eeTn29jeXeoei22z+z0lW85iOJg4ppnfBib1PUnk3U+0UklxXQsZFSxWbo0e/ErZ7FwNh7TEJR6FMPegfykzh72zy+GbaWCjU8znuc9xu5xLnE8yTcn1rdbTY6ybggpwWUsFxE06vJ+FK/q5x9Qy6rQpHklC0kmRwsTw5AbDv4ny4Ii+1PRySXEbHPtrwtLreNgvv8AyLU/mJf7J/8Akoq4vaNCVhIs3+Ran8xL/ZP/AMlm4bsbX1Dg2Onl8XMLWjxc+wT2UXTRtFy4eazt2dK6TFKe3yS557g1jvvsPNdCqIbv9gm4axz5CHzvFnEaMGvA2+ZzzJ52HRS9FxNyjVcNi1WypnuzYC3eiIitWSiIiSSLwheokkvOEdFptqdpYMPgMsuZ0jYLXkd0Hd1PIeQP62n2ngw+AyynPRjBrIeg+88lz9tFtFPXTmaY56NaNGDk1o/3dVSSZdButnDMNdVOzv0YPn0C/GP49NWzummN3HIAaMHJrRyAv9Z1K1yIg13DWhjQ1osAikeB7W9nF7lq4/dFKTfgJs6I/Oid8k92nhcqOInBsoyRNkGVw99OSlz9iYqr08MnbNz7CQiOZvdY2a/xFvNaCvwGqpzaaGRn6zHAeRtY+SwQbLeUO3GIwC0dTLYaBzuMDyfdPoqck7P0kOHXQ+Y+y0dlscO2cq6j4mCV/eGG3m45DzKnlTttWuwVtR2gExquxMjWNBLQxz+QsDcAXAUDrto6ycWmqJXg8nSOI/dvb2JyAFCKaaW9mgWJG5O3gPqts3ZulpfSr528Q/6encJHnue8egz1krCxzad9QwQxsbBTMN2Qs0v857jm9/0itIijfkrmwfFmebn5DuHqbnqiIiZELPwXGpqOZs0DuFzfU4c2uHMHp966C2S2thxGHtI8niwljJzYfvaeR5+IIHNy2GBY7NRTNmgdZw1HJw5tcOYP+uoVjH5Vk4jhzattxo4bH0PvRdOotHsltbDiMHaR5PFhLGTmw/eDyPPxBA3iMBvqFwkkbo3FjxYhERE6giIiSSIiJJItRtPtPBh8BllOejGDWQ9B955JtPtPBh8BlmOejGDWQ9B955Ln3aPaOevnM0xz0a0aMHJrR/u6qkky6DdbGG4a6qdnfowfPoE2i2inrpzNMc9GtGjBya0f7utWiITddyxjWNDWiwCIi2GBYHNWztghbdztSdGgauceQH+Q1KZO5wYC5xsAsamoZJA8saXBjS95GjWjUk+YC+CvHFNlIcOwWpjizcY7yPIzkOWfcBnYcvEkmj1NzcqCoqwVYc5o0BsOum68REUEephJ/N5n9OP+C5Q9TCT+bzP6cf8ABcoepO4IOl/v/cUXq8XoUUYsmtwyWEMMjS0SMbJGeTmuFwQfYeixVfeHbMwV+DU0Uw/IsLHjWM8I9IfeOapfaHZ6ehnMMzbEZtcNHjk5p5j6tCpuYWi6zKPEGVDnRnRzSdOfULWIiKC01sMCx2aimbNA6zhqOThza4cwf9dQugdktrYcRh7SPJ4sJIyc2H7weR5+IIHNy2GBY7PRTNmgdZw1HJw5tcOYP+uoVjH5Vk4jhzattxo8bH0PvRdOotFsjtdBiMPHH6L22EkZ1YT9bTY2PO3I3C3qMBvqFwkkbo3FjxYhERE6gi8JXq+VVFxsc29uJpF+lxa6ScLnTbPaR9fVvlJ9AEtiHzWA5eZ+Ee8rRL6TwOjc5jxZzSWuB5EGxHrC+azyb6lenxMbGwNZsAiIs/BMEmrJmwwN4nu9TRzc48gOv3myZSc4NBc42ATBMEmrJmwwN4nO9TRzc48gOv3my6A2Q2Qhw6HgZ6T3WMshGbz9zRyH3klNkNkIcOh4Gek91jLIRm8/c0ch95JW+RkceXU7rh8TxM1J7NmjB8+v2Cj+34vhlVb80fuXOa6U2xhL8PqmtFyYZLDr6JNlzWqpt1rfh8/6Lx19F4iIqF0imEn83mf04/4LlD1P3YU87NB9shU9t/Vzhv6yoApu4dyBo3B3aW/zKL0LxeqCOXSGw/4tpf2Mf2Qv3tTstBiEBilFiM43gZxnqOo6jn6iPrstSmKhpo3ZFsMYcOh4RcetbRHgfDYrzSSRzJ3PYbG5IPiuZdodnp6GcwzNsRm0jR45OaeY+rQrWLpTanZaDEIDFKLEZxvAzjPUdR1HP1Ec/bQ7PT0M5hmbYjNpGjxyc08x9WhQj2Ze5dphuJNq25XaPHDn1C1iIirWut1shtC6hq45gTw34ZR85hI4h5ajvAXSQK5boKJ88rImC7pHBjfFxsuo42WaB0AHqRMF9VyP4hawPY4bkHy4eq/SIiIXMoiIkkq13kbtXVDjVUgHaH42PTtLfLby4uo5+OtRVVJJE4skY5jhq1zS0jyK6nX5c0HUXVLogTcLdo8akgYI3tzAba2Pquctntia2ucBFGQznI8FrB5nXwbcq8dkdkIMOh4I/Se6xkkIzefuaOQ+sklbwvAFychmSsTCsZgqmdpTyNkbcglp0I5HmP8AVOyMN71TW4lPVttazRy9Ss1ERWrIXhF1Qu3e7+aildJEwvpnEua5oJ7MH5D+ltATkRbncK+0UHsDgj6GufRvzN1B3C5SW/2V2NqcQkAjaWx39OUj0WjnY/Kd9EewZroJ+D05PEYYiepjbf12WW1oGQVQg5lbMv4gJbaNljzJv6LXjAYPcnuTh957Psrd1ra9ed+uaonarYGroZHeg6SG/oytaSLcuK3wT4+V10OisfGHLJosSlpXEjUHcH6rlRrSTYZnoFPdgd209RMyapjMcDSHcLxYykZhoac+HqTqMhrcXWImg3AF+tl+1BsIB1WhUY9JIwtjblvxvfy0CIiK9c6i0+1Gy0GIQ9lMLEZxvHwoz1HceY5+ojcImIvoVNj3RuDmGxC57x/dvX0jj72ZmcnxAuy72j0m+Yt3laii2brJncMcErje2UbrDxJFh5ldNrwlUmAc10DPxBKG2c0E81BN3m7gUPv9RZ05FmgZiIEZ2PNxGRPiB1M8UNx3enQ0z+zYXTvvYiKxA7uImxPcL+SmQVjMo0Cyaw1D3CWcH4tvDl0RERTQSIi+FdVthifK74LGue7waCT7AknAJNgoZvD3jCg94gAdORck5iIHQkc3HUDzPIGHYDsniWMjt6moe2In0S+54ra8EYIaBfnkOl1EoOPEK5vaH06iZocenG4A27gDl4LpOmp2xsaxgDWtAa0DkALAepDt/wBQ3Oy6apy4ZE1kQHaHd2/kqhxndRW0kbn0c7pfRIext2OLTqAA4h4tf0efQrG3NYuYq10BPozMNh9KO7h/d4/YrsUOqt3MZxKOuik7OzuORgbk88yCCLcXPI3z6pzHYgtQ8eKdtC+Gp4jQ248L2UxRfiSVrWlziAALkk2AA1JJ0UZn3m4Ux3CakEjL0WSOHra0g+SuJA3WLHDJL/TaT3C6lKLX4Rj9NVtLqeVsgGtjmPFpzHmF96rE4IvjZY2WFzxva2w65lK4UTG4OykG/JZKLV4btRR1PGYZ2PEfwyDbhvobm2WWui+1Nj1LI7gjnhe75rZWE+oG6VwnMTxcFp06LORfiaZrGlzyGtGZJIAHeSVUu8jeTxubDQTOAYeKSSN1uIj4LWkagZk8jlrZRc8NFyiKSjkqn5GefAK3UWswLGo6iCJ3GwvfGx5aHC9y0F2QPI3WZUV0UYJkexgAuS5wFh1NypXQzmOa7KRqvui12D7QU1YHGnlbIGHhda+R5agZHrobFfemxWCVxZHLG9zfhNa9ri3lmAbhK4SdG9pIIOiykWvxjaClo28VRK2MHQE5u8GjM+QUabvewzitxyW+d2Trf5+xMXAblWx0s0ozMYSO5TVQLe1hNXLTdpFNwwxNc6WO7h2mYscsnWHIqZ4bikNTGJIHtkYebT7D0Pcc1qdv/wAWVX7J33Jn6tKso3OiqWaa3A1Hgqh3VU7X4pFxC/CJHC/UNNj5Xv6lfyoXdJ+NGfqSfZV9KEP6VpY8f9yP2j6lERFcsFFpNtfxdVW/MyfZK3a+FfSNmifE74L2uYfBwLT7CmIuFZE4Me1x4ELm/ZSqEVfTPOQbNHc9BxAE+orpdctV9E+CV8Ugs+NxY7xabFX7u/2tZX0rbu9+jAbM3ncZB/g7XxuOSHhO4XT49CXtZO3UbfZShERErlFTW9zauSWo9xREiOO3aAflHmxAPUNuMut+gUmo90dBHS8M9zLw3fL2hbwG2ZaL8Nh9IFVVtfxNxGqvr28p/vkj2WUswvBMVx0drPOWU5Nhf4Jsc+CJtgbHLiPMak3QgN3G4uV2UsBhposkmRo1J4km3nx0Ub2KrJKfE4Oyde8rYnW0e1zg13iLZ+QPJTfe7sdE1jq9jnCQvY2RpNwQRwgjK4OTedlLNl93VHQOEjQ6SXlI8j0b5HhAyHjme9Ym938Vv/Xj+0p5LMN0G7EGzV0boejSeYuqw3e7IDEahzXuLYo28UnDq65s1ovpfM37is/eLu/GHcE0BcYXHhIcbmN1iRmLXBANjyt4Lc7jPjKr9WL65FLt6jAcKnvyMZHj2rB9RKiGAx3RE9dLHiIiB+G4Fu+33Ud2GrBjNDLRVjnOMRYQ8Os4tz4SSb3LS0i5BuCOearra7AhQ1ktO1xeGcNiRYkOa14vbmOKyl+5CM+6p3chEAfEvFvqK0m9T8bT+EX+ExRdqwFE014q+SFp+G2a3XRT/ZDdbBA+CrMsjnta19vRDbub3Z2F9L5rSb39kI471zHO4pJGtew2IzYbOadR8AZZ68tFaGD/APLw/s2fZCh2+f8AFzf2zPsyK5zGhixKSsmfWtLnbm3hfZVlsbSVlU99FTP7Nk1nTn6LLjMjO3p24eZIut9geydRh2NU8bruaXEtkaCA9vC7i8Lc2/cQtpuMgF6p/MCJo8D2hP1D1Kz8Rr2QRPmkNmRtL3eDRfLvUGRgtBKNxDEHx1D4GtBBFu8kb+iqDHN3+J1mJSl7bMdISJXOBa2O54LC9zZthwjn01UrxTYzB6Cid27G/BPpuPvj3Wy4PpX5AW65XUIq9u8UxOpENM50XGbRxxHhIGt3P1NgLk3AyOQWzxfdbJHSzVVZVl8jI3OsAXXIHotL3m5ubDQJhbUtF1bIJR2bKiUM2s1t7n35LWboMSkjxFsTT6ErXh45HgaXtPiLW8CVam3/AOLKr9k77lUG6n8aw+Ev+E9W/t/+LKr9k77lKP8AplDYqAMQjtxy/VVLuk/GjP1JPsq+lQu6T8aM/Uk+yr6Uof0ofHv+SP2j6lERFcsJEREklXW83d46r/4qlF5gLSM/OgZAj6QGVuYtzGdR0lZUUk3FG58UrDbm0jqCD7QV1CsDEcBpan4+GOQ8i9jSR4Ei4VL4rm4W7RYwYY+ylbmb6cuoVLt3v4mG8JdGT84xC/sPD7FtdndncVxOeOprJJGwsc144/R4uEg2jjFgL/OsPNWdQ7L0UDuKKniY7k4RtuPA2uFtEhGf7immxOJoIpog0njYX8FVG9jYaV8hradpfcDt2tFyC0WEgA1FgAbaWvzNo7sfvOmw+LsHRiaMElgLi0subkA2OV7m1tSc1fKwpsEpnu43wROd84xsJ9ZF0jGb3aU0OKNMAgqGZgNtbKtMN2pxnFp2+5gKeBrgXuAuLA5hz3D0zb5LQO/qvvvg2sh7M0DLuk4mOkNsmC3EBfm43aelirQawAWAsBoByWFWYFSzO4poIZHaXfExx8LuBTlhta6qZXQidr+zs1uwHPmTxVMbrNq4KGeRs/EBNwNDgLhpBPwhrb0tRfTRSzfVjQZTx0wPpSO43Do1ml/FxH7pUtrMIw2kjdUPp6eNsY4y4QRgi2lrNve+QtzsqvwnB58fxB9TKC2na4A9zW/BhaebrZkjS5PMAwILW5Oa0Y5Yaio/OEFrWb34ngB75KS7sKNlBhstbP6Ik98OWfAy4Zl1JLiPEKs9sccbW1stQwFrXloaDrZrWsBPeeG9u9dHCmZwdnwt4LcPDYWta3DbS1srLD/Buj/7aD+xj/hUnRkgAIWnxRkc753tJc7rsOXyWi2B21grYmwt4mzRxt7RpGXo2aXNOhF7d+aim97a6CVnuKPic9kgdI61mt4WuHCOp9LwyVoUmGww37KKOO+vAxrb20vwjNfCq2do5XF8lPA9x1c6FjieWZIupFri210LDU08dT22Q23AvxVO7rtsqegfK2o4g2Xgs8C4aW8XwgM7elqL6K3dp8LNVRTQsPpSMIb0vq2/dcBes2VoAQRS04IzBEEeVtD8FbRJrSBYpVtZHNMJ4wQeN+lrLmjC8RqMNqxIG8MsRIcx4PMWc1w7wfvUn2m2/rcSpXsZB2cLeF07mkuBs4cILiAAOKxtqbDvVzVeFwTEGWKOQjQvY11v3gv3JQROjMTmNMZHCWcI4SOltFAREaXR8mLwyPbK6L4hxv78L7LnTY7Hm0NbHUPaXNbxBwba9nMc3K+WV7q0t4u21MKEwjiMlTC1zG8NuFsmYc8nTIHLXLzUvotnaSEWigiYO6NufibXK+lbglNOQ6aCKQgWBfExxA6AuByTtjcGkXVVRiME87ZXMPw9d7ahUFsDjkVFXxzTXDLPa4gX4eJpANhmc7aLoWmqWSsbIw8TXtDmkcw4XB9RWu/BLD/+0pv/AI8f8K2jGBoAAAAFgALAAaABSjYW6IbEqyOreHtaQdl+kRFYstEREkkRESSRERJJEREkkRESSWBjeCQ1kXYzglhLXEBxbfhNwCRnZZFHRRwxtjiaGMaLNa0WAX3RNbip53Zct9OSIiJ1BEREkkRESSRERJJEREkkRESSRERJJf/Z"/>
          <p:cNvSpPr>
            <a:spLocks noChangeAspect="1" noChangeArrowheads="1"/>
          </p:cNvSpPr>
          <p:nvPr/>
        </p:nvSpPr>
        <p:spPr bwMode="auto">
          <a:xfrm>
            <a:off x="342900" y="-603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43" name="AutoShape 38" descr="data:image/jpeg;base64,/9j/4AAQSkZJRgABAQAAAQABAAD/2wCEAAkGBhAQEBUSERQWFRUWGBcWFBgXFBgbHxUeGBgXFxcWGxoXHCYhHR4kGxYYHy8gIycpLi0vGh4yODAqNSYuLCkBCQoKDgwOGg8PGiwlHyIsLyw0LTEsLyw0MCwsLC4tLCosNC8sLCwpLywsLCwsLCwsKSwsKiwsLCwpLCw0LCwsLP/AABEIAPwAyAMBIgACEQEDEQH/xAAcAAEAAgMBAQEAAAAAAAAAAAAABgcEBQgBAwL/xABPEAABAwIDBQQDCgkKBQUAAAABAAIDBBEFITEGBxJBURNhcYEikaEUIzIzQlJisbLBFjVDU1Vyc5LSFTZ0gpOis9Hh8CQ0RFSkF2OUo+L/xAAbAQABBQEBAAAAAAAAAAAAAAAEAAECAwUGB//EADcRAAEDAgQDBgQFAwUAAAAAAAEAAgMEEQUSITFBUWETcYGRwfAiobHRBhQycuEzQlIjJDSS8f/aAAwDAQACEQMRAD8AvFERJJEX5e8NBJIAAuSTYADUkqNVO8rC43cJqWkj5rXvH7zGkHyKYkDdWxwyS/oaT3C6k6LX4Tj9LVt4qeVkltQ05jxacx5hbBPe6g5rmmzhYoiIkooiLWY3tJS0TQ6olay/wRmXO8GtuT6kibKTGOecrRcrZooGd82HXtaa3Xsxb7d/YpNgW1VJWgmnlDyPhNzDh3lrgDbv0UQ9p2KIlo54hmewgdy2yIo7tHt5RUB4Znkya9mwcTh45gN8yE5IG6pjifK7KwEnopEirtm+2ivnDOB1tGfZxqX4BtRS1zC6nkDrfCacnNv1ac/PTvTB7TsVfNRTwjNIwgLaoiKSERERJJEWjxzbWhojwzzAP+Y27neYbe3nZamh3tYZK7hL3x30L4yB6xe3ibKJe0aXRLKSd7c7WEjuUyRfiGZr2hzCHNIuCCCCDoQRqF+1JDIiIkkiIsLGuP3NNwfD7OTh8eA29qSk0XICpbePt4+tldBE4inYbCx+NIPw3dRfQeeukJXiLPJJNyvS4IGQRiNg0Hu6+9FWyQvEkT3Me3MOabEf76K8d3u8Jle0QzENqWjTQSgaub39W+Yy0odfSnqHxva9ji1zSC1wNiCNCCpMeWlDV1BHVssdDwPvguqUUI3fbxGVzRDMQ2pA8BKB8pvQ9W+Yy0m6Na4OFwuCngfA8xyCxCx8RrmwQyTP+DGxz3eDQSfqXNON4zLWTvnmN3POnJo5NHcBkr53juIwupt8wD1vaD7Fzuh5jrZdN+H4m5Hy8b29UWVhuJS08rJoXFr2G7SPqPUHQjmFioh10pAcLFdB4ntoG4R7uZYOfGOAa2e48Fu/hdf90qgJ53PcXvJc5xJcSbkk5kk9VOK+U/g3Ti+Xupw8rTOt681A1bI4m3csnC6ZkIky/wCRHgNkWx2fxySiqGTxHNpzF8nt+Uw9xH3HktcvQqlqvaHtLXbFdT0tS2RjZGG7XtDmnqHAEH1FfVaXYpxOHUpP5mP2NAW6WgDcXXmUrcjy3kSEVb7x95QgDqWkdeXSSQH4rq1p+f3/ACfHT57yd5PY8VJSO980lkB+L6safn9T8nx+DT6okk4BdHhWE5rTTjTgPU/ZeveSSSSSTck8ydSV+URDLrFON2e2z6SdsEjiaeVwbYn4tzjYPHQXOfr5K9VypG0kgDMk2HidF1TECGi+thf70VCSRZcfj8DGSNkbu69/C2vzX6REV65xEREklQG8TYx9BUF7G/8ADyOJjcNGk5mM9CM7dR4G0RXUmI4dFUROimaHseLOB5/5EagjRUHtzsNLhstxd8Dz72/pz4HW0cPbqOYAkkdtQu1wrExOBFJ+ofP+VF0RFSt9fuGZzHBzCWuaQWkGxBGYII0KvLd1vBFc3sZyG1DR3ATAfKA+cObfMZXAopfSnqHxva9ji1zSC1wNiCNCCpseWlAV1CyrjyncbHl/C6D3k/iqp/Vb9ti54VpzbftxDCKmKWzahkbSeQlAez029D1b5jLSrFKUgkEIPBoHwRvjkFiHegRERVLbU5r/AObdP/S3fZmUGU5r/wCbdP8A0t32ZlBlN3DuQNFs/wDe76ovQvF6FBHLpDYj8W0v7GP7IUQ3l7x+x4qSkd75pLID8X1Y0/P6n5PjpqcT3i+5sNpqWld78YIxI8H4oFo9EfT+z46VoTfMq90mgAXMUOFZ5nTzDS5sOeu56fVF4iKhdOiIpzu83eOrnCecFtM0+BmI+S3o3q7yGdyHAJNgqJ6hlOwySHQLJ3VbEvnmbVyttDGbx3/KPByI+i0536gDra61+IYWsaGMAa1oAaALAAZAADQL9o1jcosvP66sdVy53bcByCIiKaCRERJJFjYjh0VRE6KZoex4s4H/AHkRqCNFkoknBINwuetudhpcNluLvgefe39PoP6OHt1HMCLrqTEcOiqInRTND2PFnA/7yI1BGioXbjYSXDpOIXfA4+9v6c+B/R3fobeIAkkeXUbLtcLxQVA7KX9f1/lRVERUreXq8REkkRbnDNlKidnakNih/OzPEbPInN39UFZX8mYXF8bVyzHmKeCw8nzOF/HhT2KHNQwGw1PQE/TbxW2r/wCbdP8A0t32ZlBlO5tpsKdQsoezqxGyTtA+8PFxHizIva1nEW9q0owrDZfiqx8R5CopyB5vic4D1KR1tZC0zzGHZ2kXcTsToT0uo8i3GJ7K1MDO1LWyQ8ponCRh/rN+D/WAWnUbWR7HteLtN0RETKaIinm7rd06tcKioBFODkNDMRyHRoOp56DmQ4BcbBD1FQynYZJDp70Xz3ebvHVzhPOC2mafAzEfJb9Hq7yGdyLyhhaxoYwBrWgBoAsABkAANAkEDWNDGANa0ANAFgAMgABoF+0axgaFwVdXPq35nbDYcv5RERTQCIiJJIiIkkij+I7e4bTu4ZKllxqG8T7dx7MGygO9vbSTtTRQuLWNA7Yg2Ly4X4Lj5IBFxzJ7lWCofLY2C6ShwQTRiSVxF9gOS6B/9U8J/wC4/wDpm/gWPiO8LBKiJ0U0wex4s5phmz/uZEHMHkQFQyKvtnLRGA04Nw53mPsthjlLTxzOFNN20WrHcLmkD5rg5ozHUZHu0GvRFSt1oygC91+mMJIAFycgBz7lIxFBhw99Y2ar/Nuzjp/2g/KSfQ0bzucl5RAUFO2oP/MzA+5gfyLM2uqP1nG7WdLOd0Ucc4k3OZOqfZD/ANYkf2j5/wAfXu3ysSxaepf2k8jpHdXHQdANGjuAAWIvVMcC3VV9SA9zWwMOYMtwSO5gF/XZIAnZSkmip2/GQ0e9lDUVqjcWbf8ANi/7D7+0WixrdHX04Lo+Gdo/N34v3Ha+DSSpGNw4IaPFKSQ5WvHzH1UUwrGZ6V/HBI5h52OTh0c05OHcQVvPc0GJD3ljYKzUxNyjqOvZ3+Lf9DQ8rKMPYQSCLEZEHl3Ix5BBBIIzBHK2hUQUU+IOOdujuf35j2LJJGWktcCCCQQRYgjIgg81+VKMSAr6Y1YA90Q2FUB+VacmVFvnX9F9u45KLpEKUUmca6EaEdfeo6LabOto+3BrXPETcy1jbl/0b3HCOp16a3FuQb3cLY0MYJWtaAGgRAAAZAAB2QVHopNeW7ISqw+OqIMhOnC+ivT/ANY8N/8Ae/s//wBLOwzedhk5DRN2bjoJGln94+j7Vz6in2zkC7AaYjQkeP8AC6sa4EXC9VQbn9rZBL7hkcXMcHGG/wAgtHEWj6JFzbkR3q30Sx2YXXK1lI6llMbvA8wiIikg0RESSXNu21/5Rqr/AJ6T7Rt7LLSKy97mx0jZjWxNLo3gdtYfFuAA4iB8kgDPre+oVaIB4sSvR6GZs0DHN5AeIRERRRqLZbO4T7qqooL2D3ekfmtHpPd5NBK1qkmyA4Iq2fnHSuY09DM5sYPqLvWnG6oqHlsZI32HedB81rtosV901L5ALMvwxN+ZGwcMbQO5oHtWsXq2+yGEiqroIXC7XPHGOrWgvcP3WkJblOS2GO/Bo+QVl7r937Io2VlQ0GRwDoWnSNpza+3zjqOgtz0speAL1HNaGiwXnVVUvqZDI/8A8HJERFJDKBbytgWVUTqmBtqhgu4NHxwGoIGrwNDz06Wo9dWrnXeDhIpsRnY0WaXCRo6B4DreAJI8kNM22oXW4FWOfeB52Fx3clibKYqKaqY5+cbrxzA6Ojk9F4PXI38QFj4/hRpaqWA/k3loPUatd5tIPmsBSjb0cb6WfnNSQPeergCx32QqeC3XfDOD/kCPEaj1UWReooopeIvUskkpHu5BOKU1vnn1cDr+y66JVX7p9hpYXe7KhpYS0thY4WI4vhPI5ZZAd57laCLhBDdVwuNTslqPgN7C3iiIiuWKiIiSSw8VxSCmiMs72sYNS7n3ADMk9Aqcx/avBZHkx4dx/S7QwX7+GO/tzWNvXx99RXuiv73B6DRy4rAvdbrc8Pg0KFIWSS5sF2WGYW1kYleTci9gSNPDVSj+X8K/Rn/mzfwp/L+Ffoz/AM2b+FRdFVmPsLY/Ks5u/wC7vupR/L+Ffoz/AM2b+FbamxKjmwyvZTUvudwbC5x7Z0nG0Styu4Ai3d1UBUo2A98nmpj/ANTTywtv87h42H1s9qcE3Q9RTsZHnBd8JB/U47EHibKLqVbr5g3Fae/PtG+ZjeB7cvNRZzSDY5Ea9y++H1roJWSs+FG5r2+LSCPqUQbG6Lnj7WJzBxBHmF1KiwsFxaOrgjniN2vaCO482nvBuD4LNWgvNHNLSWncIiIkooqh3k7SwxV7o3UkEzmsYC+QOvmOK3ouGVnD1q1cSxGOnhfNKeFjGlzj4ch1J0A5khc041ijqqolnfrI4ut0B0b5Cw8lRM6wsugwOl7WRz3bAW5albn8Lqf9HUnqk/iUi2o2ohjp6IOoad5dAJAHB1o2uJDWNsb29G+ZKrqCBz3NY0Xc4hrR1JNgPWVIt4MzfdnYsN200cVO0/s22d/eLlQCbFdDJSxmZjdeJ3Pdz6p+F1P+jqT1Sfxp+F1P+jqT1SfxqMoo3KJ/KxdfM/dSb8Lqf9HUnqk/jW72d3kUdO8F2Hws+nDbiHhxi/8AeCr5E4cQoSUMMjcrgfM/ddPYLjkFZEJad4e05HkWnm1wOYKz1RG6TGnQYg2K/oTgscOVwC5jvG4I/rFXujGOzC64jEaP8pNkBuDqEREU1noiIkkucdvaYx4lVB3OVzvJ/pj2OC0CvHeRu9dXWnp7Cdo4S0mwlA0F9A4XyJ10ysFTWIYRUU7uGaJ8Z+k0i/hfXyQT2lpXoOHVkc8LQD8QFiO5YaL3hKcJVa0l4vvQ1j4ZWSsNnMc17T3tNx9S+Nl4kkQCLFSfbjD2do2sgHvFWDI36D/ysZ7w658+5RhSXZfG4Qx9FWX9zTG4cMzTyDJsze7k4dPMHXbQbPTUUvBIAQfSje3NsreT2nmLW8FI66oSB3ZnsX7jbqPuNj58Vt9hdvZMNeWkF8Dzd7L5tOnGy+V9LjnYaaq7sE2mpa1odTytf1bezm+LTmPqXMy/TXEG4NiNCOSmyQt0QddhMVUc4OV3Pn3rqta7GdoaWjZx1ErWdAT6Tv1WjM+QXOg2irAOH3RPbp2z7eriWBJIXElxJJ1JNyfMqZn5BZsf4e1+N+nQKXbebwZMRd2cYLKdpu1p1eeTn29jeXeoei22z+z0lW85iOJg4ppnfBib1PUnk3U+0UklxXQsZFSxWbo0e/ErZ7FwNh7TEJR6FMPegfykzh72zy+GbaWCjU8znuc9xu5xLnE8yTcn1rdbTY6ybggpwWUsFxE06vJ+FK/q5x9Qy6rQpHklC0kmRwsTw5AbDv4ny4Ii+1PRySXEbHPtrwtLreNgvv8AyLU/mJf7J/8Akoq4vaNCVhIs3+Ran8xL/ZP/AMlm4bsbX1Dg2Onl8XMLWjxc+wT2UXTRtFy4eazt2dK6TFKe3yS557g1jvvsPNdCqIbv9gm4axz5CHzvFnEaMGvA2+ZzzJ52HRS9FxNyjVcNi1WypnuzYC3eiIitWSiIiSSLwheokkvOEdFptqdpYMPgMsuZ0jYLXkd0Hd1PIeQP62n2ngw+AyynPRjBrIeg+88lz9tFtFPXTmaY56NaNGDk1o/3dVSSZdButnDMNdVOzv0YPn0C/GP49NWzummN3HIAaMHJrRyAv9Z1K1yIg13DWhjQ1osAikeB7W9nF7lq4/dFKTfgJs6I/Oid8k92nhcqOInBsoyRNkGVw99OSlz9iYqr08MnbNz7CQiOZvdY2a/xFvNaCvwGqpzaaGRn6zHAeRtY+SwQbLeUO3GIwC0dTLYaBzuMDyfdPoqck7P0kOHXQ+Y+y0dlscO2cq6j4mCV/eGG3m45DzKnlTttWuwVtR2gExquxMjWNBLQxz+QsDcAXAUDrto6ycWmqJXg8nSOI/dvb2JyAFCKaaW9mgWJG5O3gPqts3ZulpfSr528Q/6encJHnue8egz1krCxzad9QwQxsbBTMN2Qs0v857jm9/0itIijfkrmwfFmebn5DuHqbnqiIiZELPwXGpqOZs0DuFzfU4c2uHMHp966C2S2thxGHtI8niwljJzYfvaeR5+IIHNy2GBY7NRTNmgdZw1HJw5tcOYP+uoVjH5Vk4jhzattxo4bH0PvRdOotHsltbDiMHaR5PFhLGTmw/eDyPPxBA3iMBvqFwkkbo3FjxYhERE6giIiSSIiJJItRtPtPBh8BllOejGDWQ9B955JtPtPBh8BlmOejGDWQ9B955Ln3aPaOevnM0xz0a0aMHJrR/u6qkky6DdbGG4a6qdnfowfPoE2i2inrpzNMc9GtGjBya0f7utWiITddyxjWNDWiwCIi2GBYHNWztghbdztSdGgauceQH+Q1KZO5wYC5xsAsamoZJA8saXBjS95GjWjUk+YC+CvHFNlIcOwWpjizcY7yPIzkOWfcBnYcvEkmj1NzcqCoqwVYc5o0BsOum68REUEephJ/N5n9OP+C5Q9TCT+bzP6cf8ABcoepO4IOl/v/cUXq8XoUUYsmtwyWEMMjS0SMbJGeTmuFwQfYeixVfeHbMwV+DU0Uw/IsLHjWM8I9IfeOapfaHZ6ehnMMzbEZtcNHjk5p5j6tCpuYWi6zKPEGVDnRnRzSdOfULWIiKC01sMCx2aimbNA6zhqOThza4cwf9dQugdktrYcRh7SPJ4sJIyc2H7weR5+IIHNy2GBY7PRTNmgdZw1HJw5tcOYP+uoVjH5Vk4jhzattxo8bH0PvRdOotFsjtdBiMPHH6L22EkZ1YT9bTY2PO3I3C3qMBvqFwkkbo3FjxYhERE6gi8JXq+VVFxsc29uJpF+lxa6ScLnTbPaR9fVvlJ9AEtiHzWA5eZ+Ee8rRL6TwOjc5jxZzSWuB5EGxHrC+azyb6lenxMbGwNZsAiIs/BMEmrJmwwN4nu9TRzc48gOv3myZSc4NBc42ATBMEmrJmwwN4nO9TRzc48gOv3my6A2Q2Qhw6HgZ6T3WMshGbz9zRyH3klNkNkIcOh4Gek91jLIRm8/c0ch95JW+RkceXU7rh8TxM1J7NmjB8+v2Cj+34vhlVb80fuXOa6U2xhL8PqmtFyYZLDr6JNlzWqpt1rfh8/6Lx19F4iIqF0imEn83mf04/4LlD1P3YU87NB9shU9t/Vzhv6yoApu4dyBo3B3aW/zKL0LxeqCOXSGw/4tpf2Mf2Qv3tTstBiEBilFiM43gZxnqOo6jn6iPrstSmKhpo3ZFsMYcOh4RcetbRHgfDYrzSSRzJ3PYbG5IPiuZdodnp6GcwzNsRm0jR45OaeY+rQrWLpTanZaDEIDFKLEZxvAzjPUdR1HP1Ec/bQ7PT0M5hmbYjNpGjxyc08x9WhQj2Ze5dphuJNq25XaPHDn1C1iIirWut1shtC6hq45gTw34ZR85hI4h5ajvAXSQK5boKJ88rImC7pHBjfFxsuo42WaB0AHqRMF9VyP4hawPY4bkHy4eq/SIiIXMoiIkkq13kbtXVDjVUgHaH42PTtLfLby4uo5+OtRVVJJE4skY5jhq1zS0jyK6nX5c0HUXVLogTcLdo8akgYI3tzAba2Pquctntia2ucBFGQznI8FrB5nXwbcq8dkdkIMOh4I/Se6xkkIzefuaOQ+sklbwvAFychmSsTCsZgqmdpTyNkbcglp0I5HmP8AVOyMN71TW4lPVttazRy9Ss1ERWrIXhF1Qu3e7+aildJEwvpnEua5oJ7MH5D+ltATkRbncK+0UHsDgj6GufRvzN1B3C5SW/2V2NqcQkAjaWx39OUj0WjnY/Kd9EewZroJ+D05PEYYiepjbf12WW1oGQVQg5lbMv4gJbaNljzJv6LXjAYPcnuTh957Psrd1ra9ed+uaonarYGroZHeg6SG/oytaSLcuK3wT4+V10OisfGHLJosSlpXEjUHcH6rlRrSTYZnoFPdgd209RMyapjMcDSHcLxYykZhoac+HqTqMhrcXWImg3AF+tl+1BsIB1WhUY9JIwtjblvxvfy0CIiK9c6i0+1Gy0GIQ9lMLEZxvHwoz1HceY5+ojcImIvoVNj3RuDmGxC57x/dvX0jj72ZmcnxAuy72j0m+Yt3laii2brJncMcErje2UbrDxJFh5ldNrwlUmAc10DPxBKG2c0E81BN3m7gUPv9RZ05FmgZiIEZ2PNxGRPiB1M8UNx3enQ0z+zYXTvvYiKxA7uImxPcL+SmQVjMo0Cyaw1D3CWcH4tvDl0RERTQSIi+FdVthifK74LGue7waCT7AknAJNgoZvD3jCg94gAdORck5iIHQkc3HUDzPIGHYDsniWMjt6moe2In0S+54ra8EYIaBfnkOl1EoOPEK5vaH06iZocenG4A27gDl4LpOmp2xsaxgDWtAa0DkALAepDt/wBQ3Oy6apy4ZE1kQHaHd2/kqhxndRW0kbn0c7pfRIext2OLTqAA4h4tf0efQrG3NYuYq10BPozMNh9KO7h/d4/YrsUOqt3MZxKOuik7OzuORgbk88yCCLcXPI3z6pzHYgtQ8eKdtC+Gp4jQ248L2UxRfiSVrWlziAALkk2AA1JJ0UZn3m4Ux3CakEjL0WSOHra0g+SuJA3WLHDJL/TaT3C6lKLX4Rj9NVtLqeVsgGtjmPFpzHmF96rE4IvjZY2WFzxva2w65lK4UTG4OykG/JZKLV4btRR1PGYZ2PEfwyDbhvobm2WWui+1Nj1LI7gjnhe75rZWE+oG6VwnMTxcFp06LORfiaZrGlzyGtGZJIAHeSVUu8jeTxubDQTOAYeKSSN1uIj4LWkagZk8jlrZRc8NFyiKSjkqn5GefAK3UWswLGo6iCJ3GwvfGx5aHC9y0F2QPI3WZUV0UYJkexgAuS5wFh1NypXQzmOa7KRqvui12D7QU1YHGnlbIGHhda+R5agZHrobFfemxWCVxZHLG9zfhNa9ri3lmAbhK4SdG9pIIOiykWvxjaClo28VRK2MHQE5u8GjM+QUabvewzitxyW+d2Trf5+xMXAblWx0s0ozMYSO5TVQLe1hNXLTdpFNwwxNc6WO7h2mYscsnWHIqZ4bikNTGJIHtkYebT7D0Pcc1qdv/wAWVX7J33Jn6tKso3OiqWaa3A1Hgqh3VU7X4pFxC/CJHC/UNNj5Xv6lfyoXdJ+NGfqSfZV9KEP6VpY8f9yP2j6lERFcsFFpNtfxdVW/MyfZK3a+FfSNmifE74L2uYfBwLT7CmIuFZE4Me1x4ELm/ZSqEVfTPOQbNHc9BxAE+orpdctV9E+CV8Ugs+NxY7xabFX7u/2tZX0rbu9+jAbM3ncZB/g7XxuOSHhO4XT49CXtZO3UbfZShERErlFTW9zauSWo9xREiOO3aAflHmxAPUNuMut+gUmo90dBHS8M9zLw3fL2hbwG2ZaL8Nh9IFVVtfxNxGqvr28p/vkj2WUswvBMVx0drPOWU5Nhf4Jsc+CJtgbHLiPMak3QgN3G4uV2UsBhposkmRo1J4km3nx0Ub2KrJKfE4Oyde8rYnW0e1zg13iLZ+QPJTfe7sdE1jq9jnCQvY2RpNwQRwgjK4OTedlLNl93VHQOEjQ6SXlI8j0b5HhAyHjme9Ym938Vv/Xj+0p5LMN0G7EGzV0boejSeYuqw3e7IDEahzXuLYo28UnDq65s1ovpfM37is/eLu/GHcE0BcYXHhIcbmN1iRmLXBANjyt4Lc7jPjKr9WL65FLt6jAcKnvyMZHj2rB9RKiGAx3RE9dLHiIiB+G4Fu+33Ud2GrBjNDLRVjnOMRYQ8Os4tz4SSb3LS0i5BuCOearra7AhQ1ktO1xeGcNiRYkOa14vbmOKyl+5CM+6p3chEAfEvFvqK0m9T8bT+EX+ExRdqwFE014q+SFp+G2a3XRT/ZDdbBA+CrMsjnta19vRDbub3Z2F9L5rSb39kI471zHO4pJGtew2IzYbOadR8AZZ68tFaGD/APLw/s2fZCh2+f8AFzf2zPsyK5zGhixKSsmfWtLnbm3hfZVlsbSVlU99FTP7Nk1nTn6LLjMjO3p24eZIut9geydRh2NU8bruaXEtkaCA9vC7i8Lc2/cQtpuMgF6p/MCJo8D2hP1D1Kz8Rr2QRPmkNmRtL3eDRfLvUGRgtBKNxDEHx1D4GtBBFu8kb+iqDHN3+J1mJSl7bMdISJXOBa2O54LC9zZthwjn01UrxTYzB6Cid27G/BPpuPvj3Wy4PpX5AW65XUIq9u8UxOpENM50XGbRxxHhIGt3P1NgLk3AyOQWzxfdbJHSzVVZVl8jI3OsAXXIHotL3m5ubDQJhbUtF1bIJR2bKiUM2s1t7n35LWboMSkjxFsTT6ErXh45HgaXtPiLW8CVam3/AOLKr9k77lUG6n8aw+Ev+E9W/t/+LKr9k77lKP8AplDYqAMQjtxy/VVLuk/GjP1JPsq+lQu6T8aM/Uk+yr6Uof0ofHv+SP2j6lERFcsJEREklXW83d46r/4qlF5gLSM/OgZAj6QGVuYtzGdR0lZUUk3FG58UrDbm0jqCD7QV1CsDEcBpan4+GOQ8i9jSR4Ei4VL4rm4W7RYwYY+ylbmb6cuoVLt3v4mG8JdGT84xC/sPD7FtdndncVxOeOprJJGwsc144/R4uEg2jjFgL/OsPNWdQ7L0UDuKKniY7k4RtuPA2uFtEhGf7immxOJoIpog0njYX8FVG9jYaV8hradpfcDt2tFyC0WEgA1FgAbaWvzNo7sfvOmw+LsHRiaMElgLi0subkA2OV7m1tSc1fKwpsEpnu43wROd84xsJ9ZF0jGb3aU0OKNMAgqGZgNtbKtMN2pxnFp2+5gKeBrgXuAuLA5hz3D0zb5LQO/qvvvg2sh7M0DLuk4mOkNsmC3EBfm43aelirQawAWAsBoByWFWYFSzO4poIZHaXfExx8LuBTlhta6qZXQidr+zs1uwHPmTxVMbrNq4KGeRs/EBNwNDgLhpBPwhrb0tRfTRSzfVjQZTx0wPpSO43Do1ml/FxH7pUtrMIw2kjdUPp6eNsY4y4QRgi2lrNve+QtzsqvwnB58fxB9TKC2na4A9zW/BhaebrZkjS5PMAwILW5Oa0Y5Yaio/OEFrWb34ngB75KS7sKNlBhstbP6Ik98OWfAy4Zl1JLiPEKs9sccbW1stQwFrXloaDrZrWsBPeeG9u9dHCmZwdnwt4LcPDYWta3DbS1srLD/Buj/7aD+xj/hUnRkgAIWnxRkc753tJc7rsOXyWi2B21grYmwt4mzRxt7RpGXo2aXNOhF7d+aim97a6CVnuKPic9kgdI61mt4WuHCOp9LwyVoUmGww37KKOO+vAxrb20vwjNfCq2do5XF8lPA9x1c6FjieWZIupFri210LDU08dT22Q23AvxVO7rtsqegfK2o4g2Xgs8C4aW8XwgM7elqL6K3dp8LNVRTQsPpSMIb0vq2/dcBes2VoAQRS04IzBEEeVtD8FbRJrSBYpVtZHNMJ4wQeN+lrLmjC8RqMNqxIG8MsRIcx4PMWc1w7wfvUn2m2/rcSpXsZB2cLeF07mkuBs4cILiAAOKxtqbDvVzVeFwTEGWKOQjQvY11v3gv3JQROjMTmNMZHCWcI4SOltFAREaXR8mLwyPbK6L4hxv78L7LnTY7Hm0NbHUPaXNbxBwba9nMc3K+WV7q0t4u21MKEwjiMlTC1zG8NuFsmYc8nTIHLXLzUvotnaSEWigiYO6NufibXK+lbglNOQ6aCKQgWBfExxA6AuByTtjcGkXVVRiME87ZXMPw9d7ahUFsDjkVFXxzTXDLPa4gX4eJpANhmc7aLoWmqWSsbIw8TXtDmkcw4XB9RWu/BLD/+0pv/AI8f8K2jGBoAAAAFgALAAaABSjYW6IbEqyOreHtaQdl+kRFYstEREkkRESSRERJJEREkkRESSWBjeCQ1kXYzglhLXEBxbfhNwCRnZZFHRRwxtjiaGMaLNa0WAX3RNbip53Zct9OSIiJ1BEREkkRESSRERJJEREkkRESSRERJJf/Z"/>
          <p:cNvSpPr>
            <a:spLocks noChangeAspect="1" noChangeArrowheads="1"/>
          </p:cNvSpPr>
          <p:nvPr/>
        </p:nvSpPr>
        <p:spPr bwMode="auto">
          <a:xfrm>
            <a:off x="495300" y="920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h-TH">
              <a:solidFill>
                <a:prstClr val="black"/>
              </a:solidFill>
            </a:endParaRPr>
          </a:p>
        </p:txBody>
      </p:sp>
      <p:pic>
        <p:nvPicPr>
          <p:cNvPr id="84" name="Picture 6" descr="https://encrypted-tbn1.gstatic.com/images?q=tbn:ANd9GcTAmIqmTHNtcecBcd3G1mrjZz5qB_UZ87yGTBXukpToID__rMyZ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5193" y="1209218"/>
            <a:ext cx="334065" cy="44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Rectangle 85"/>
          <p:cNvSpPr/>
          <p:nvPr>
            <p:custDataLst>
              <p:tags r:id="rId30"/>
            </p:custDataLst>
          </p:nvPr>
        </p:nvSpPr>
        <p:spPr bwMode="auto">
          <a:xfrm>
            <a:off x="1030892" y="1844824"/>
            <a:ext cx="3246790" cy="57505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rIns="0" rtlCol="0" anchor="ctr"/>
          <a:lstStyle/>
          <a:p>
            <a:pPr algn="ctr"/>
            <a:r>
              <a:rPr lang="en-US" sz="1900" b="1" i="1" dirty="0" smtClean="0">
                <a:solidFill>
                  <a:srgbClr val="009900"/>
                </a:solidFill>
                <a:latin typeface="Cordia New" pitchFamily="34" charset="-34"/>
                <a:cs typeface="Cordia New" pitchFamily="34" charset="-34"/>
              </a:rPr>
              <a:t>“</a:t>
            </a:r>
            <a:r>
              <a:rPr lang="th-TH" sz="1900" b="1" i="1" dirty="0" smtClean="0">
                <a:solidFill>
                  <a:srgbClr val="009900"/>
                </a:solidFill>
                <a:latin typeface="Cordia New" pitchFamily="34" charset="-34"/>
                <a:cs typeface="Cordia New" pitchFamily="34" charset="-34"/>
              </a:rPr>
              <a:t>ผู้ประกอบการทุกรายสามารถ</a:t>
            </a:r>
          </a:p>
          <a:p>
            <a:pPr algn="ctr"/>
            <a:r>
              <a:rPr lang="th-TH" sz="1900" b="1" i="1" dirty="0" smtClean="0">
                <a:solidFill>
                  <a:srgbClr val="009900"/>
                </a:solidFill>
                <a:latin typeface="Cordia New" pitchFamily="34" charset="-34"/>
                <a:cs typeface="Cordia New" pitchFamily="34" charset="-34"/>
              </a:rPr>
              <a:t>ออกตั๋วโดยสาร</a:t>
            </a:r>
            <a:r>
              <a:rPr lang="th-TH" sz="1900" b="1" i="1" u="sng" dirty="0" smtClean="0">
                <a:solidFill>
                  <a:srgbClr val="009900"/>
                </a:solidFill>
                <a:latin typeface="Cordia New" pitchFamily="34" charset="-34"/>
                <a:cs typeface="Cordia New" pitchFamily="34" charset="-34"/>
              </a:rPr>
              <a:t>ภายใต้มาตรฐานเดียวกัน</a:t>
            </a:r>
            <a:r>
              <a:rPr lang="en-US" sz="1900" b="1" i="1" dirty="0" smtClean="0">
                <a:solidFill>
                  <a:srgbClr val="009900"/>
                </a:solidFill>
                <a:latin typeface="Cordia New" pitchFamily="34" charset="-34"/>
                <a:cs typeface="Cordia New" pitchFamily="34" charset="-34"/>
              </a:rPr>
              <a:t>”</a:t>
            </a:r>
            <a:endParaRPr lang="th-TH" sz="1900" b="1" i="1" dirty="0" smtClean="0">
              <a:solidFill>
                <a:srgbClr val="009900"/>
              </a:solidFill>
              <a:latin typeface="Cordia New" pitchFamily="34" charset="-34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560240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/>
          <p:cNvSpPr/>
          <p:nvPr>
            <p:custDataLst>
              <p:tags r:id="rId1"/>
            </p:custDataLst>
          </p:nvPr>
        </p:nvSpPr>
        <p:spPr bwMode="auto">
          <a:xfrm>
            <a:off x="395536" y="1341367"/>
            <a:ext cx="8306320" cy="1630433"/>
          </a:xfrm>
          <a:prstGeom prst="rect">
            <a:avLst/>
          </a:prstGeom>
          <a:solidFill>
            <a:schemeClr val="accent3">
              <a:lumMod val="20000"/>
              <a:lumOff val="80000"/>
              <a:alpha val="7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  <a:defRPr/>
            </a:pPr>
            <a:endParaRPr lang="th-TH" sz="1400" b="1" kern="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4" name="Rectangle 63"/>
          <p:cNvSpPr/>
          <p:nvPr>
            <p:custDataLst>
              <p:tags r:id="rId2"/>
            </p:custDataLst>
          </p:nvPr>
        </p:nvSpPr>
        <p:spPr bwMode="auto">
          <a:xfrm>
            <a:off x="395536" y="3014181"/>
            <a:ext cx="8306320" cy="158321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  <a:defRPr/>
            </a:pPr>
            <a:endParaRPr lang="th-TH" sz="1400" b="1" kern="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1" name="Rectangle 90"/>
          <p:cNvSpPr/>
          <p:nvPr>
            <p:custDataLst>
              <p:tags r:id="rId3"/>
            </p:custDataLst>
          </p:nvPr>
        </p:nvSpPr>
        <p:spPr bwMode="auto">
          <a:xfrm>
            <a:off x="395536" y="4639293"/>
            <a:ext cx="8306320" cy="1583219"/>
          </a:xfrm>
          <a:prstGeom prst="rect">
            <a:avLst/>
          </a:prstGeom>
          <a:solidFill>
            <a:schemeClr val="accent5">
              <a:alpha val="7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  <a:defRPr/>
            </a:pPr>
            <a:endParaRPr lang="th-TH" sz="1400" b="1" kern="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4" name="Rectangle 33"/>
          <p:cNvSpPr/>
          <p:nvPr>
            <p:custDataLst>
              <p:tags r:id="rId4"/>
            </p:custDataLst>
          </p:nvPr>
        </p:nvSpPr>
        <p:spPr bwMode="auto">
          <a:xfrm>
            <a:off x="1430147" y="1028700"/>
            <a:ext cx="2968267" cy="27393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  <a:defRPr/>
            </a:pPr>
            <a:r>
              <a:rPr lang="th-TH" sz="1800" b="1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558</a:t>
            </a:r>
            <a:endParaRPr lang="th-TH" sz="1800" b="1" kern="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pPr>
                <a:defRPr/>
              </a:pPr>
              <a:t>7</a:t>
            </a:fld>
            <a:endParaRPr lang="th-TH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th-TH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" name="TextBox 4"/>
          <p:cNvSpPr txBox="1"/>
          <p:nvPr>
            <p:custDataLst>
              <p:tags r:id="rId5"/>
            </p:custDataLst>
          </p:nvPr>
        </p:nvSpPr>
        <p:spPr>
          <a:xfrm>
            <a:off x="1655168" y="1554274"/>
            <a:ext cx="1293403" cy="2185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ลงนามในสัญญา</a:t>
            </a:r>
          </a:p>
        </p:txBody>
      </p:sp>
      <p:sp>
        <p:nvSpPr>
          <p:cNvPr id="6" name="Oval 5"/>
          <p:cNvSpPr/>
          <p:nvPr>
            <p:custDataLst>
              <p:tags r:id="rId6"/>
            </p:custDataLst>
          </p:nvPr>
        </p:nvSpPr>
        <p:spPr bwMode="auto">
          <a:xfrm>
            <a:off x="1717437" y="1832254"/>
            <a:ext cx="280718" cy="300603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19050" cap="flat" cmpd="sng" algn="ctr">
            <a:solidFill>
              <a:srgbClr val="000099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en-US" sz="1600" b="1" kern="0" dirty="0" smtClean="0">
                <a:solidFill>
                  <a:srgbClr val="000099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0</a:t>
            </a:r>
            <a:endParaRPr lang="th-TH" sz="1600" b="1" kern="0" dirty="0">
              <a:solidFill>
                <a:srgbClr val="000099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" name="Oval 6"/>
          <p:cNvSpPr/>
          <p:nvPr>
            <p:custDataLst>
              <p:tags r:id="rId7"/>
            </p:custDataLst>
          </p:nvPr>
        </p:nvSpPr>
        <p:spPr bwMode="auto">
          <a:xfrm>
            <a:off x="3363130" y="1942614"/>
            <a:ext cx="558638" cy="520086"/>
          </a:xfrm>
          <a:prstGeom prst="ellipse">
            <a:avLst/>
          </a:prstGeom>
          <a:solidFill>
            <a:srgbClr val="0033CC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en-US" sz="2000" b="1" kern="0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6</a:t>
            </a:r>
            <a:endParaRPr lang="th-TH" sz="2000" b="1" kern="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9" name="Straight Arrow Connector 141"/>
          <p:cNvCxnSpPr>
            <a:stCxn id="6" idx="4"/>
            <a:endCxn id="7" idx="2"/>
          </p:cNvCxnSpPr>
          <p:nvPr/>
        </p:nvCxnSpPr>
        <p:spPr bwMode="auto">
          <a:xfrm rot="16200000" flipH="1">
            <a:off x="2575563" y="1415090"/>
            <a:ext cx="69800" cy="1505334"/>
          </a:xfrm>
          <a:prstGeom prst="bentConnector2">
            <a:avLst/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" name="Straight Arrow Connector 9"/>
          <p:cNvCxnSpPr>
            <a:stCxn id="7" idx="6"/>
            <a:endCxn id="8" idx="2"/>
          </p:cNvCxnSpPr>
          <p:nvPr/>
        </p:nvCxnSpPr>
        <p:spPr bwMode="auto">
          <a:xfrm flipV="1">
            <a:off x="3921768" y="2191708"/>
            <a:ext cx="824638" cy="10949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2" name="Straight Arrow Connector 11"/>
          <p:cNvCxnSpPr>
            <a:stCxn id="8" idx="6"/>
            <a:endCxn id="11" idx="2"/>
          </p:cNvCxnSpPr>
          <p:nvPr/>
        </p:nvCxnSpPr>
        <p:spPr bwMode="auto">
          <a:xfrm>
            <a:off x="5027124" y="2191708"/>
            <a:ext cx="1510695" cy="4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3" name="TextBox 12"/>
          <p:cNvSpPr txBox="1"/>
          <p:nvPr>
            <p:custDataLst>
              <p:tags r:id="rId8"/>
            </p:custDataLst>
          </p:nvPr>
        </p:nvSpPr>
        <p:spPr>
          <a:xfrm>
            <a:off x="2587977" y="1966356"/>
            <a:ext cx="641261" cy="198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Design</a:t>
            </a:r>
            <a:endParaRPr lang="th-TH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4" name="TextBox 13"/>
          <p:cNvSpPr txBox="1"/>
          <p:nvPr>
            <p:custDataLst>
              <p:tags r:id="rId9"/>
            </p:custDataLst>
          </p:nvPr>
        </p:nvSpPr>
        <p:spPr>
          <a:xfrm>
            <a:off x="4002747" y="1978061"/>
            <a:ext cx="641261" cy="198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Implement</a:t>
            </a:r>
            <a:endParaRPr lang="th-TH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5" name="TextBox 14"/>
          <p:cNvSpPr txBox="1"/>
          <p:nvPr>
            <p:custDataLst>
              <p:tags r:id="rId10"/>
            </p:custDataLst>
          </p:nvPr>
        </p:nvSpPr>
        <p:spPr>
          <a:xfrm>
            <a:off x="5232008" y="1984419"/>
            <a:ext cx="924168" cy="192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Test &amp; Trial run</a:t>
            </a:r>
            <a:endParaRPr lang="th-TH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17" name="Straight Arrow Connector 141"/>
          <p:cNvCxnSpPr>
            <a:stCxn id="78" idx="2"/>
            <a:endCxn id="75" idx="2"/>
          </p:cNvCxnSpPr>
          <p:nvPr/>
        </p:nvCxnSpPr>
        <p:spPr bwMode="auto">
          <a:xfrm rot="16200000" flipH="1">
            <a:off x="1818225" y="3746240"/>
            <a:ext cx="477456" cy="308406"/>
          </a:xfrm>
          <a:prstGeom prst="bentConnector2">
            <a:avLst/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8" name="TextBox 17"/>
          <p:cNvSpPr txBox="1"/>
          <p:nvPr>
            <p:custDataLst>
              <p:tags r:id="rId11"/>
            </p:custDataLst>
          </p:nvPr>
        </p:nvSpPr>
        <p:spPr>
          <a:xfrm>
            <a:off x="1963559" y="2554017"/>
            <a:ext cx="2370527" cy="198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F/E Prototype implementation</a:t>
            </a:r>
            <a:endParaRPr lang="th-TH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19" name="Straight Arrow Connector 141"/>
          <p:cNvCxnSpPr>
            <a:stCxn id="16" idx="6"/>
            <a:endCxn id="11" idx="2"/>
          </p:cNvCxnSpPr>
          <p:nvPr/>
        </p:nvCxnSpPr>
        <p:spPr bwMode="auto">
          <a:xfrm flipV="1">
            <a:off x="5027124" y="2191712"/>
            <a:ext cx="1510695" cy="528712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0" name="Straight Arrow Connector 19"/>
          <p:cNvCxnSpPr>
            <a:stCxn id="11" idx="6"/>
            <a:endCxn id="23" idx="2"/>
          </p:cNvCxnSpPr>
          <p:nvPr/>
        </p:nvCxnSpPr>
        <p:spPr bwMode="auto">
          <a:xfrm flipV="1">
            <a:off x="6818537" y="2191711"/>
            <a:ext cx="1281855" cy="1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1" name="TextBox 20"/>
          <p:cNvSpPr txBox="1"/>
          <p:nvPr>
            <p:custDataLst>
              <p:tags r:id="rId12"/>
            </p:custDataLst>
          </p:nvPr>
        </p:nvSpPr>
        <p:spPr>
          <a:xfrm>
            <a:off x="6241274" y="1964940"/>
            <a:ext cx="2435182" cy="1806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Maintenance (DLP) </a:t>
            </a:r>
            <a:endParaRPr lang="th-TH" sz="14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4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ป็น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ยะเวลา 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4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ดือน</a:t>
            </a:r>
          </a:p>
        </p:txBody>
      </p:sp>
      <p:sp>
        <p:nvSpPr>
          <p:cNvPr id="22" name="TextBox 21"/>
          <p:cNvSpPr txBox="1"/>
          <p:nvPr>
            <p:custDataLst>
              <p:tags r:id="rId13"/>
            </p:custDataLst>
          </p:nvPr>
        </p:nvSpPr>
        <p:spPr>
          <a:xfrm>
            <a:off x="4857267" y="1700808"/>
            <a:ext cx="938869" cy="198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206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CH </a:t>
            </a:r>
            <a:r>
              <a:rPr lang="th-TH" sz="1400" b="1" dirty="0">
                <a:solidFill>
                  <a:srgbClr val="00206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ล้วเสร็จ</a:t>
            </a:r>
          </a:p>
        </p:txBody>
      </p:sp>
      <p:sp>
        <p:nvSpPr>
          <p:cNvPr id="24" name="TextBox 23"/>
          <p:cNvSpPr txBox="1"/>
          <p:nvPr>
            <p:custDataLst>
              <p:tags r:id="rId14"/>
            </p:custDataLst>
          </p:nvPr>
        </p:nvSpPr>
        <p:spPr>
          <a:xfrm>
            <a:off x="1430147" y="1324213"/>
            <a:ext cx="837597" cy="23258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th-TH"/>
            </a:defPPr>
            <a:lvl1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C00000"/>
                </a:solidFill>
                <a:latin typeface="Cordia New" panose="020B0304020202020204" pitchFamily="34" charset="-34"/>
                <a:cs typeface="Cordia New" panose="020B0304020202020204" pitchFamily="34" charset="-34"/>
              </a:defRPr>
            </a:lvl1pPr>
          </a:lstStyle>
          <a:p>
            <a:r>
              <a:rPr lang="th-TH" sz="17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ก</a:t>
            </a:r>
            <a:r>
              <a:rPr lang="en-US" sz="17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พ</a:t>
            </a:r>
            <a:r>
              <a:rPr lang="en-US" sz="17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17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58</a:t>
            </a:r>
          </a:p>
        </p:txBody>
      </p:sp>
      <p:sp>
        <p:nvSpPr>
          <p:cNvPr id="25" name="TextBox 24"/>
          <p:cNvSpPr txBox="1"/>
          <p:nvPr>
            <p:custDataLst>
              <p:tags r:id="rId15"/>
            </p:custDataLst>
          </p:nvPr>
        </p:nvSpPr>
        <p:spPr>
          <a:xfrm>
            <a:off x="3181770" y="1324213"/>
            <a:ext cx="921357" cy="23258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th-TH"/>
            </a:defPPr>
            <a:lvl1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6">
                    <a:lumMod val="95000"/>
                    <a:lumOff val="5000"/>
                  </a:schemeClr>
                </a:solidFill>
                <a:latin typeface="Cordia New" panose="020B0304020202020204" pitchFamily="34" charset="-34"/>
                <a:cs typeface="Cordia New" panose="020B0304020202020204" pitchFamily="34" charset="-34"/>
              </a:defRPr>
            </a:lvl1pPr>
          </a:lstStyle>
          <a:p>
            <a:pPr algn="ctr"/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. </a:t>
            </a:r>
            <a:r>
              <a:rPr lang="th-TH" sz="17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5</a:t>
            </a:r>
            <a:r>
              <a:rPr lang="en-US" sz="17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8</a:t>
            </a:r>
            <a:endParaRPr lang="th-TH" sz="17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28" name="Straight Connector 27"/>
          <p:cNvCxnSpPr>
            <a:stCxn id="24" idx="2"/>
            <a:endCxn id="6" idx="0"/>
          </p:cNvCxnSpPr>
          <p:nvPr/>
        </p:nvCxnSpPr>
        <p:spPr bwMode="auto">
          <a:xfrm>
            <a:off x="1848946" y="1556793"/>
            <a:ext cx="8850" cy="27546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/>
          <p:cNvCxnSpPr>
            <a:stCxn id="25" idx="2"/>
            <a:endCxn id="7" idx="0"/>
          </p:cNvCxnSpPr>
          <p:nvPr/>
        </p:nvCxnSpPr>
        <p:spPr bwMode="auto">
          <a:xfrm>
            <a:off x="3642449" y="1556793"/>
            <a:ext cx="0" cy="38582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5" name="Pentagon 34"/>
          <p:cNvSpPr/>
          <p:nvPr>
            <p:custDataLst>
              <p:tags r:id="rId16"/>
            </p:custDataLst>
          </p:nvPr>
        </p:nvSpPr>
        <p:spPr bwMode="auto">
          <a:xfrm>
            <a:off x="7096024" y="1028700"/>
            <a:ext cx="1631232" cy="273936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  <a:defRPr/>
            </a:pPr>
            <a:r>
              <a:rPr lang="th-TH" sz="1800" b="1" kern="0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56</a:t>
            </a:r>
            <a:r>
              <a:rPr lang="en-US" sz="1800" b="1" kern="0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0-2561</a:t>
            </a:r>
            <a:endParaRPr lang="th-TH" sz="1800" b="1" kern="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6" name="Rectangle 35"/>
          <p:cNvSpPr/>
          <p:nvPr>
            <p:custDataLst>
              <p:tags r:id="rId17"/>
            </p:custDataLst>
          </p:nvPr>
        </p:nvSpPr>
        <p:spPr bwMode="auto">
          <a:xfrm>
            <a:off x="395536" y="1341369"/>
            <a:ext cx="925264" cy="163043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  <a:defRPr/>
            </a:pPr>
            <a:r>
              <a:rPr lang="th-TH" sz="1600" b="1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ทำระบบ </a:t>
            </a:r>
            <a:r>
              <a:rPr lang="en-US" sz="1600" b="1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CH</a:t>
            </a:r>
            <a:endParaRPr lang="th-TH" sz="1600" b="1" kern="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2670650" y="3134509"/>
            <a:ext cx="893238" cy="534122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pPr algn="ctr"/>
            <a:r>
              <a:rPr lang="th-TH" sz="14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จัดตั้งหน่วยงาน </a:t>
            </a:r>
            <a:r>
              <a:rPr lang="th-TH" sz="15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ชั่วคราว</a:t>
            </a:r>
            <a:endParaRPr lang="en-US" sz="15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63" name="Straight Arrow Connector 141"/>
          <p:cNvCxnSpPr>
            <a:stCxn id="43" idx="3"/>
            <a:endCxn id="8" idx="4"/>
          </p:cNvCxnSpPr>
          <p:nvPr/>
        </p:nvCxnSpPr>
        <p:spPr bwMode="auto">
          <a:xfrm flipV="1">
            <a:off x="3563888" y="2342009"/>
            <a:ext cx="1322877" cy="1059561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rgbClr val="FFC000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sp>
        <p:nvSpPr>
          <p:cNvPr id="66" name="TextBox 65"/>
          <p:cNvSpPr txBox="1"/>
          <p:nvPr>
            <p:custDataLst>
              <p:tags r:id="rId18"/>
            </p:custDataLst>
          </p:nvPr>
        </p:nvSpPr>
        <p:spPr>
          <a:xfrm>
            <a:off x="3601988" y="3142541"/>
            <a:ext cx="953138" cy="21247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4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่วมตรวจรับงาน</a:t>
            </a:r>
            <a:endParaRPr lang="th-TH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6192068" y="3050760"/>
            <a:ext cx="972220" cy="521368"/>
          </a:xfrm>
          <a:prstGeom prst="rect">
            <a:avLst/>
          </a:prstGeom>
          <a:solidFill>
            <a:srgbClr val="002E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th-TH" sz="1400" b="1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จัดตั้ง </a:t>
            </a:r>
            <a:r>
              <a:rPr lang="en-US" sz="1400" b="1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TC </a:t>
            </a:r>
            <a:r>
              <a:rPr lang="th-TH" sz="1400" b="1" dirty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ล้ว</a:t>
            </a:r>
            <a:r>
              <a:rPr lang="th-TH" sz="1500" b="1" dirty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สร็จ</a:t>
            </a:r>
          </a:p>
        </p:txBody>
      </p:sp>
      <p:cxnSp>
        <p:nvCxnSpPr>
          <p:cNvPr id="69" name="Straight Arrow Connector 68"/>
          <p:cNvCxnSpPr/>
          <p:nvPr/>
        </p:nvCxnSpPr>
        <p:spPr bwMode="auto">
          <a:xfrm>
            <a:off x="2821712" y="4133751"/>
            <a:ext cx="283400" cy="0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2" name="Straight Connector 61"/>
          <p:cNvCxnSpPr>
            <a:stCxn id="61" idx="2"/>
          </p:cNvCxnSpPr>
          <p:nvPr/>
        </p:nvCxnSpPr>
        <p:spPr bwMode="auto">
          <a:xfrm>
            <a:off x="4888662" y="1539440"/>
            <a:ext cx="1" cy="65729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TextBox 60"/>
          <p:cNvSpPr txBox="1"/>
          <p:nvPr>
            <p:custDataLst>
              <p:tags r:id="rId19"/>
            </p:custDataLst>
          </p:nvPr>
        </p:nvSpPr>
        <p:spPr>
          <a:xfrm>
            <a:off x="4427984" y="1306860"/>
            <a:ext cx="921356" cy="23258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th-TH"/>
            </a:defPPr>
            <a:lvl1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6">
                    <a:lumMod val="95000"/>
                    <a:lumOff val="5000"/>
                  </a:schemeClr>
                </a:solidFill>
                <a:latin typeface="Cordia New" panose="020B0304020202020204" pitchFamily="34" charset="-34"/>
                <a:cs typeface="Cordia New" panose="020B0304020202020204" pitchFamily="34" charset="-34"/>
              </a:defRPr>
            </a:lvl1pPr>
          </a:lstStyle>
          <a:p>
            <a:pPr algn="ctr"/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5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9</a:t>
            </a:r>
            <a:endParaRPr lang="th-TH" sz="17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2" name="TextBox 51"/>
          <p:cNvSpPr txBox="1"/>
          <p:nvPr>
            <p:custDataLst>
              <p:tags r:id="rId20"/>
            </p:custDataLst>
          </p:nvPr>
        </p:nvSpPr>
        <p:spPr>
          <a:xfrm>
            <a:off x="6217500" y="1306860"/>
            <a:ext cx="921356" cy="23258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th-TH"/>
            </a:defPPr>
            <a:lvl1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6">
                    <a:lumMod val="95000"/>
                    <a:lumOff val="5000"/>
                  </a:schemeClr>
                </a:solidFill>
                <a:latin typeface="Cordia New" panose="020B0304020202020204" pitchFamily="34" charset="-34"/>
                <a:cs typeface="Cordia New" panose="020B0304020202020204" pitchFamily="34" charset="-34"/>
              </a:defRPr>
            </a:lvl1pPr>
          </a:lstStyle>
          <a:p>
            <a:pPr algn="ctr"/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5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9</a:t>
            </a:r>
            <a:endParaRPr lang="th-TH" sz="17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53" name="Straight Connector 52"/>
          <p:cNvCxnSpPr>
            <a:stCxn id="52" idx="2"/>
          </p:cNvCxnSpPr>
          <p:nvPr/>
        </p:nvCxnSpPr>
        <p:spPr bwMode="auto">
          <a:xfrm>
            <a:off x="6678178" y="1539440"/>
            <a:ext cx="1" cy="65729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Rectangle 53"/>
          <p:cNvSpPr/>
          <p:nvPr>
            <p:custDataLst>
              <p:tags r:id="rId21"/>
            </p:custDataLst>
          </p:nvPr>
        </p:nvSpPr>
        <p:spPr bwMode="auto">
          <a:xfrm>
            <a:off x="4445864" y="1028700"/>
            <a:ext cx="2591108" cy="27393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  <a:defRPr/>
            </a:pPr>
            <a:r>
              <a:rPr lang="th-TH" sz="1800" b="1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55</a:t>
            </a:r>
            <a:r>
              <a:rPr lang="en-US" sz="1800" b="1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9</a:t>
            </a:r>
            <a:endParaRPr lang="th-TH" sz="1800" b="1" kern="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6" name="TextBox 55"/>
          <p:cNvSpPr txBox="1"/>
          <p:nvPr>
            <p:custDataLst>
              <p:tags r:id="rId22"/>
            </p:custDataLst>
          </p:nvPr>
        </p:nvSpPr>
        <p:spPr>
          <a:xfrm>
            <a:off x="7767993" y="1306860"/>
            <a:ext cx="921356" cy="23258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th-TH"/>
            </a:defPPr>
            <a:lvl1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6">
                    <a:lumMod val="95000"/>
                    <a:lumOff val="5000"/>
                  </a:schemeClr>
                </a:solidFill>
                <a:latin typeface="Cordia New" panose="020B0304020202020204" pitchFamily="34" charset="-34"/>
                <a:cs typeface="Cordia New" panose="020B0304020202020204" pitchFamily="34" charset="-34"/>
              </a:defRPr>
            </a:lvl1pPr>
          </a:lstStyle>
          <a:p>
            <a:pPr algn="ctr"/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61</a:t>
            </a:r>
            <a:endParaRPr lang="th-TH" sz="17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57" name="Straight Connector 56"/>
          <p:cNvCxnSpPr>
            <a:stCxn id="56" idx="2"/>
          </p:cNvCxnSpPr>
          <p:nvPr/>
        </p:nvCxnSpPr>
        <p:spPr bwMode="auto">
          <a:xfrm>
            <a:off x="8228671" y="1539440"/>
            <a:ext cx="1" cy="65729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64"/>
          <p:cNvSpPr/>
          <p:nvPr>
            <p:custDataLst>
              <p:tags r:id="rId23"/>
            </p:custDataLst>
          </p:nvPr>
        </p:nvSpPr>
        <p:spPr bwMode="auto">
          <a:xfrm>
            <a:off x="395536" y="3014183"/>
            <a:ext cx="925264" cy="1583217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  <a:defRPr/>
            </a:pPr>
            <a:r>
              <a:rPr lang="th-TH" sz="1600" b="1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ตั้ง </a:t>
            </a:r>
            <a:r>
              <a:rPr lang="en-US" sz="1600" b="1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TC</a:t>
            </a:r>
            <a:endParaRPr lang="th-TH" sz="1600" b="1" kern="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0" name="TextBox 69"/>
          <p:cNvSpPr txBox="1"/>
          <p:nvPr>
            <p:custDataLst>
              <p:tags r:id="rId24"/>
            </p:custDataLst>
          </p:nvPr>
        </p:nvSpPr>
        <p:spPr>
          <a:xfrm>
            <a:off x="2155502" y="3735756"/>
            <a:ext cx="666210" cy="23258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[</a:t>
            </a:r>
            <a:r>
              <a:rPr lang="th-TH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</a:t>
            </a:r>
            <a:r>
              <a:rPr lang="en-US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</a:t>
            </a:r>
            <a:r>
              <a:rPr lang="en-US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5</a:t>
            </a:r>
            <a:r>
              <a:rPr lang="en-US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8]</a:t>
            </a:r>
            <a:endParaRPr lang="th-TH" sz="16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72" name="Straight Arrow Connector 141"/>
          <p:cNvCxnSpPr/>
          <p:nvPr/>
        </p:nvCxnSpPr>
        <p:spPr bwMode="auto">
          <a:xfrm flipV="1">
            <a:off x="1857798" y="3403282"/>
            <a:ext cx="494011" cy="1"/>
          </a:xfrm>
          <a:prstGeom prst="bentConnector3">
            <a:avLst>
              <a:gd name="adj1" fmla="val 50000"/>
            </a:avLst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75" name="Oval 74"/>
          <p:cNvSpPr/>
          <p:nvPr>
            <p:custDataLst>
              <p:tags r:id="rId25"/>
            </p:custDataLst>
          </p:nvPr>
        </p:nvSpPr>
        <p:spPr bwMode="auto">
          <a:xfrm>
            <a:off x="2211156" y="3910571"/>
            <a:ext cx="544545" cy="457200"/>
          </a:xfrm>
          <a:prstGeom prst="ellipse">
            <a:avLst/>
          </a:prstGeom>
          <a:solidFill>
            <a:srgbClr val="FFC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th-TH" sz="15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รม</a:t>
            </a:r>
            <a:r>
              <a:rPr lang="en-US" sz="15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5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รั้งที่ </a:t>
            </a:r>
            <a:r>
              <a:rPr lang="en-US" sz="15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</a:t>
            </a:r>
            <a:endParaRPr lang="th-TH" sz="1500" dirty="0">
              <a:solidFill>
                <a:prstClr val="black">
                  <a:lumMod val="85000"/>
                  <a:lumOff val="15000"/>
                </a:prst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76" name="Straight Arrow Connector 75"/>
          <p:cNvCxnSpPr/>
          <p:nvPr/>
        </p:nvCxnSpPr>
        <p:spPr bwMode="auto">
          <a:xfrm>
            <a:off x="2407353" y="3395990"/>
            <a:ext cx="220431" cy="0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78" name="Rectangle 77"/>
          <p:cNvSpPr/>
          <p:nvPr/>
        </p:nvSpPr>
        <p:spPr bwMode="auto">
          <a:xfrm>
            <a:off x="1456131" y="3127593"/>
            <a:ext cx="893238" cy="534122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800" b="1" dirty="0" err="1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นข</a:t>
            </a:r>
            <a:r>
              <a:rPr lang="th-TH" sz="1800" b="1" dirty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</a:p>
        </p:txBody>
      </p:sp>
      <p:sp>
        <p:nvSpPr>
          <p:cNvPr id="81" name="TextBox 80"/>
          <p:cNvSpPr txBox="1"/>
          <p:nvPr>
            <p:custDataLst>
              <p:tags r:id="rId26"/>
            </p:custDataLst>
          </p:nvPr>
        </p:nvSpPr>
        <p:spPr>
          <a:xfrm>
            <a:off x="2627784" y="4941168"/>
            <a:ext cx="3307955" cy="21247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3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วบคุมงานดำเนินการจัดตั้งระบบ </a:t>
            </a:r>
            <a:r>
              <a:rPr lang="en-US" sz="13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CH</a:t>
            </a:r>
            <a:endParaRPr lang="th-TH" sz="13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73" name="Straight Arrow Connector 72"/>
          <p:cNvCxnSpPr>
            <a:stCxn id="79" idx="0"/>
            <a:endCxn id="11" idx="4"/>
          </p:cNvCxnSpPr>
          <p:nvPr/>
        </p:nvCxnSpPr>
        <p:spPr bwMode="auto">
          <a:xfrm flipV="1">
            <a:off x="6678178" y="2342013"/>
            <a:ext cx="0" cy="70874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C000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sp>
        <p:nvSpPr>
          <p:cNvPr id="11" name="Oval 10"/>
          <p:cNvSpPr/>
          <p:nvPr>
            <p:custDataLst>
              <p:tags r:id="rId27"/>
            </p:custDataLst>
          </p:nvPr>
        </p:nvSpPr>
        <p:spPr bwMode="auto">
          <a:xfrm>
            <a:off x="6537819" y="2041410"/>
            <a:ext cx="280718" cy="300603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19050" cap="flat" cmpd="sng" algn="ctr">
            <a:solidFill>
              <a:srgbClr val="000099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en-US" sz="1600" b="1" kern="0" dirty="0" smtClean="0">
                <a:solidFill>
                  <a:srgbClr val="000099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8</a:t>
            </a:r>
            <a:endParaRPr lang="th-TH" sz="1600" b="1" kern="0" dirty="0">
              <a:solidFill>
                <a:srgbClr val="000099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8" name="Oval 7"/>
          <p:cNvSpPr/>
          <p:nvPr>
            <p:custDataLst>
              <p:tags r:id="rId28"/>
            </p:custDataLst>
          </p:nvPr>
        </p:nvSpPr>
        <p:spPr bwMode="auto">
          <a:xfrm>
            <a:off x="4746406" y="2041406"/>
            <a:ext cx="280718" cy="300603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19050" cap="flat" cmpd="sng" algn="ctr">
            <a:solidFill>
              <a:srgbClr val="000099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en-US" sz="1600" b="1" kern="0" dirty="0" smtClean="0">
                <a:solidFill>
                  <a:srgbClr val="000099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2</a:t>
            </a:r>
            <a:endParaRPr lang="th-TH" sz="1600" b="1" kern="0" dirty="0">
              <a:solidFill>
                <a:srgbClr val="000099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6" name="Oval 15"/>
          <p:cNvSpPr/>
          <p:nvPr>
            <p:custDataLst>
              <p:tags r:id="rId29"/>
            </p:custDataLst>
          </p:nvPr>
        </p:nvSpPr>
        <p:spPr bwMode="auto">
          <a:xfrm>
            <a:off x="4746406" y="2570122"/>
            <a:ext cx="280718" cy="300603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19050" cap="flat" cmpd="sng" algn="ctr">
            <a:solidFill>
              <a:srgbClr val="000099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en-US" sz="1600" b="1" kern="0" dirty="0" smtClean="0">
                <a:solidFill>
                  <a:srgbClr val="000099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2</a:t>
            </a:r>
            <a:endParaRPr lang="th-TH" sz="1600" b="1" kern="0" dirty="0">
              <a:solidFill>
                <a:srgbClr val="000099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2" name="Rectangle 91"/>
          <p:cNvSpPr/>
          <p:nvPr>
            <p:custDataLst>
              <p:tags r:id="rId30"/>
            </p:custDataLst>
          </p:nvPr>
        </p:nvSpPr>
        <p:spPr bwMode="auto">
          <a:xfrm>
            <a:off x="395536" y="4639295"/>
            <a:ext cx="925264" cy="158321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  <a:defRPr/>
            </a:pPr>
            <a:r>
              <a:rPr lang="th-TH" sz="1600" b="1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ผนการดำเนินงาน</a:t>
            </a:r>
            <a:r>
              <a:rPr lang="en-US" sz="1600" b="1" kern="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MS</a:t>
            </a:r>
            <a:endParaRPr lang="th-TH" sz="1600" b="1" kern="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3" name="Oval 22"/>
          <p:cNvSpPr/>
          <p:nvPr>
            <p:custDataLst>
              <p:tags r:id="rId31"/>
            </p:custDataLst>
          </p:nvPr>
        </p:nvSpPr>
        <p:spPr bwMode="auto">
          <a:xfrm>
            <a:off x="8100392" y="2041409"/>
            <a:ext cx="280718" cy="300603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19050" cap="flat" cmpd="sng" algn="ctr">
            <a:solidFill>
              <a:srgbClr val="000099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en-US" sz="1600" b="1" kern="0" dirty="0" smtClean="0">
                <a:solidFill>
                  <a:srgbClr val="000099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42</a:t>
            </a:r>
            <a:endParaRPr lang="th-TH" sz="1600" b="1" kern="0" dirty="0">
              <a:solidFill>
                <a:srgbClr val="000099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26" name="Title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z="32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แผน</a:t>
            </a:r>
            <a:r>
              <a:rPr lang="th-TH" sz="3200" dirty="0">
                <a:latin typeface="TH SarabunPSK" panose="020B0500040200020003" pitchFamily="34" charset="-34"/>
                <a:cs typeface="TH SarabunPSK" panose="020B0500040200020003" pitchFamily="34" charset="-34"/>
              </a:rPr>
              <a:t>และระยะเวลาใน</a:t>
            </a:r>
            <a:r>
              <a:rPr lang="th-TH" sz="3200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การดำเนินงานระบบตั๋วร่วม</a:t>
            </a:r>
            <a:endParaRPr lang="th-TH" sz="3200" dirty="0"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88" name="TextBox 87"/>
          <p:cNvSpPr txBox="1"/>
          <p:nvPr>
            <p:custDataLst>
              <p:tags r:id="rId32"/>
            </p:custDataLst>
          </p:nvPr>
        </p:nvSpPr>
        <p:spPr>
          <a:xfrm>
            <a:off x="6530964" y="3655657"/>
            <a:ext cx="921356" cy="23258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th-TH"/>
            </a:defPPr>
            <a:lvl1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6">
                    <a:lumMod val="95000"/>
                    <a:lumOff val="5000"/>
                  </a:schemeClr>
                </a:solidFill>
                <a:latin typeface="Cordia New" panose="020B0304020202020204" pitchFamily="34" charset="-34"/>
                <a:cs typeface="Cordia New" panose="020B0304020202020204" pitchFamily="34" charset="-34"/>
              </a:defRPr>
            </a:lvl1pPr>
          </a:lstStyle>
          <a:p>
            <a:pPr algn="ctr"/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5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9</a:t>
            </a:r>
            <a:endParaRPr lang="th-TH" sz="17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90" name="Straight Arrow Connector 141"/>
          <p:cNvCxnSpPr>
            <a:stCxn id="6" idx="4"/>
          </p:cNvCxnSpPr>
          <p:nvPr/>
        </p:nvCxnSpPr>
        <p:spPr bwMode="auto">
          <a:xfrm rot="16200000" flipH="1">
            <a:off x="2987237" y="1003416"/>
            <a:ext cx="619836" cy="2878718"/>
          </a:xfrm>
          <a:prstGeom prst="bentConnector2">
            <a:avLst/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95" name="TextBox 94"/>
          <p:cNvSpPr txBox="1"/>
          <p:nvPr>
            <p:custDataLst>
              <p:tags r:id="rId33"/>
            </p:custDataLst>
          </p:nvPr>
        </p:nvSpPr>
        <p:spPr>
          <a:xfrm>
            <a:off x="1547664" y="4394418"/>
            <a:ext cx="1543184" cy="21247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3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อนุมัติหลักการจัดตั้ง </a:t>
            </a:r>
            <a:r>
              <a:rPr lang="en-US" sz="13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TC</a:t>
            </a:r>
            <a:endParaRPr lang="th-TH" sz="1300" b="1" i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9" name="Oval 98"/>
          <p:cNvSpPr/>
          <p:nvPr>
            <p:custDataLst>
              <p:tags r:id="rId34"/>
            </p:custDataLst>
          </p:nvPr>
        </p:nvSpPr>
        <p:spPr bwMode="auto">
          <a:xfrm>
            <a:off x="3137374" y="3910571"/>
            <a:ext cx="675773" cy="457200"/>
          </a:xfrm>
          <a:prstGeom prst="ellipse">
            <a:avLst/>
          </a:prstGeom>
          <a:solidFill>
            <a:srgbClr val="0033CC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th-TH" sz="1500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ค</a:t>
            </a:r>
            <a:r>
              <a:rPr lang="en-US" sz="1500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endParaRPr lang="th-TH" sz="1500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8" name="Rectangle 97"/>
          <p:cNvSpPr/>
          <p:nvPr/>
        </p:nvSpPr>
        <p:spPr bwMode="auto">
          <a:xfrm>
            <a:off x="2689159" y="3717032"/>
            <a:ext cx="504056" cy="730216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300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จัดทำแผน</a:t>
            </a:r>
            <a:r>
              <a:rPr lang="th-TH" sz="13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่ง</a:t>
            </a:r>
            <a:r>
              <a:rPr lang="en-US" sz="13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13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ค</a:t>
            </a:r>
            <a:r>
              <a:rPr lang="en-US" sz="130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endParaRPr lang="en-US" sz="130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03" name="TextBox 102"/>
          <p:cNvSpPr txBox="1"/>
          <p:nvPr>
            <p:custDataLst>
              <p:tags r:id="rId35"/>
            </p:custDataLst>
          </p:nvPr>
        </p:nvSpPr>
        <p:spPr>
          <a:xfrm>
            <a:off x="2688217" y="4394418"/>
            <a:ext cx="1543184" cy="21247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3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ห็นชอบแผน</a:t>
            </a:r>
            <a:endParaRPr lang="th-TH" sz="1300" b="1" i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05" name="TextBox 104"/>
          <p:cNvSpPr txBox="1"/>
          <p:nvPr>
            <p:custDataLst>
              <p:tags r:id="rId36"/>
            </p:custDataLst>
          </p:nvPr>
        </p:nvSpPr>
        <p:spPr>
          <a:xfrm>
            <a:off x="3210960" y="3735756"/>
            <a:ext cx="544290" cy="23258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[</a:t>
            </a:r>
            <a:r>
              <a:rPr lang="th-TH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</a:t>
            </a:r>
            <a:r>
              <a:rPr lang="en-US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</a:t>
            </a:r>
            <a:r>
              <a:rPr lang="en-US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5</a:t>
            </a:r>
            <a:r>
              <a:rPr lang="en-US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8]</a:t>
            </a:r>
            <a:endParaRPr lang="th-TH" sz="16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11" name="TextBox 110"/>
          <p:cNvSpPr txBox="1"/>
          <p:nvPr>
            <p:custDataLst>
              <p:tags r:id="rId37"/>
            </p:custDataLst>
          </p:nvPr>
        </p:nvSpPr>
        <p:spPr>
          <a:xfrm>
            <a:off x="3532872" y="4394418"/>
            <a:ext cx="1543184" cy="21247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3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อนุมัติงบประมาณ</a:t>
            </a:r>
            <a:endParaRPr lang="th-TH" sz="1300" b="1" i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13" name="TextBox 112"/>
          <p:cNvSpPr txBox="1"/>
          <p:nvPr>
            <p:custDataLst>
              <p:tags r:id="rId38"/>
            </p:custDataLst>
          </p:nvPr>
        </p:nvSpPr>
        <p:spPr>
          <a:xfrm>
            <a:off x="3980623" y="3735756"/>
            <a:ext cx="544290" cy="23258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[</a:t>
            </a:r>
            <a:r>
              <a:rPr lang="th-TH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</a:t>
            </a:r>
            <a:r>
              <a:rPr lang="en-US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ย</a:t>
            </a:r>
            <a:r>
              <a:rPr lang="en-US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5</a:t>
            </a:r>
            <a:r>
              <a:rPr lang="en-US" sz="16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8]</a:t>
            </a:r>
            <a:endParaRPr lang="th-TH" sz="16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16" name="Oval 115"/>
          <p:cNvSpPr/>
          <p:nvPr>
            <p:custDataLst>
              <p:tags r:id="rId39"/>
            </p:custDataLst>
          </p:nvPr>
        </p:nvSpPr>
        <p:spPr bwMode="auto">
          <a:xfrm>
            <a:off x="4027455" y="3910571"/>
            <a:ext cx="544545" cy="457200"/>
          </a:xfrm>
          <a:prstGeom prst="ellipse">
            <a:avLst/>
          </a:prstGeom>
          <a:solidFill>
            <a:srgbClr val="FFC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th-TH" sz="15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รม</a:t>
            </a:r>
            <a:r>
              <a:rPr lang="en-US" sz="15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5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รั้งที่ </a:t>
            </a:r>
            <a:r>
              <a:rPr lang="en-US" sz="15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</a:t>
            </a:r>
            <a:endParaRPr lang="th-TH" sz="1500" dirty="0">
              <a:solidFill>
                <a:prstClr val="black">
                  <a:lumMod val="85000"/>
                  <a:lumOff val="15000"/>
                </a:prst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121" name="Straight Arrow Connector 120"/>
          <p:cNvCxnSpPr/>
          <p:nvPr/>
        </p:nvCxnSpPr>
        <p:spPr bwMode="auto">
          <a:xfrm>
            <a:off x="3811280" y="4133751"/>
            <a:ext cx="283400" cy="0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23" name="Rectangle 122"/>
          <p:cNvSpPr/>
          <p:nvPr/>
        </p:nvSpPr>
        <p:spPr bwMode="auto">
          <a:xfrm>
            <a:off x="4776332" y="3981036"/>
            <a:ext cx="1320926" cy="386736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500" b="1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นข</a:t>
            </a:r>
            <a:r>
              <a:rPr lang="en-US" sz="1500" b="1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</a:t>
            </a:r>
            <a:r>
              <a:rPr lang="th-TH" sz="1500" b="1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ดำเนินการ</a:t>
            </a:r>
            <a:r>
              <a:rPr lang="th-TH" sz="1500" b="1" dirty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ัดเลือก </a:t>
            </a:r>
            <a:r>
              <a:rPr lang="en-US" sz="1500" b="1" dirty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TC</a:t>
            </a:r>
          </a:p>
        </p:txBody>
      </p:sp>
      <p:cxnSp>
        <p:nvCxnSpPr>
          <p:cNvPr id="124" name="Straight Arrow Connector 123"/>
          <p:cNvCxnSpPr/>
          <p:nvPr/>
        </p:nvCxnSpPr>
        <p:spPr bwMode="auto">
          <a:xfrm>
            <a:off x="4499992" y="4133751"/>
            <a:ext cx="283400" cy="0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25" name="Oval 124"/>
          <p:cNvSpPr/>
          <p:nvPr>
            <p:custDataLst>
              <p:tags r:id="rId40"/>
            </p:custDataLst>
          </p:nvPr>
        </p:nvSpPr>
        <p:spPr bwMode="auto">
          <a:xfrm>
            <a:off x="6331023" y="3910571"/>
            <a:ext cx="724789" cy="457200"/>
          </a:xfrm>
          <a:prstGeom prst="ellipse">
            <a:avLst/>
          </a:prstGeom>
          <a:solidFill>
            <a:srgbClr val="FFC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th-TH" sz="15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รม</a:t>
            </a:r>
            <a:r>
              <a:rPr lang="en-US" sz="15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5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รั้งที่ </a:t>
            </a:r>
            <a:r>
              <a:rPr lang="en-US" sz="15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</a:t>
            </a:r>
            <a:endParaRPr lang="th-TH" sz="1500" dirty="0">
              <a:solidFill>
                <a:prstClr val="black">
                  <a:lumMod val="85000"/>
                  <a:lumOff val="15000"/>
                </a:prst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126" name="Straight Arrow Connector 125"/>
          <p:cNvCxnSpPr/>
          <p:nvPr/>
        </p:nvCxnSpPr>
        <p:spPr bwMode="auto">
          <a:xfrm>
            <a:off x="6118048" y="4133751"/>
            <a:ext cx="283400" cy="0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27" name="TextBox 126"/>
          <p:cNvSpPr txBox="1"/>
          <p:nvPr>
            <p:custDataLst>
              <p:tags r:id="rId41"/>
            </p:custDataLst>
          </p:nvPr>
        </p:nvSpPr>
        <p:spPr>
          <a:xfrm>
            <a:off x="5946856" y="4404578"/>
            <a:ext cx="1543184" cy="21247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3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ับทราบผลการคัดเลือก</a:t>
            </a:r>
            <a:endParaRPr lang="th-TH" sz="1300" b="1" i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128" name="Straight Arrow Connector 127"/>
          <p:cNvCxnSpPr/>
          <p:nvPr/>
        </p:nvCxnSpPr>
        <p:spPr bwMode="auto">
          <a:xfrm flipV="1">
            <a:off x="6672151" y="3587934"/>
            <a:ext cx="0" cy="254792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29" name="Oval 128"/>
          <p:cNvSpPr/>
          <p:nvPr>
            <p:custDataLst>
              <p:tags r:id="rId42"/>
            </p:custDataLst>
          </p:nvPr>
        </p:nvSpPr>
        <p:spPr bwMode="auto">
          <a:xfrm>
            <a:off x="1560258" y="4941168"/>
            <a:ext cx="544545" cy="457200"/>
          </a:xfrm>
          <a:prstGeom prst="ellipse">
            <a:avLst/>
          </a:prstGeom>
          <a:solidFill>
            <a:schemeClr val="accent1">
              <a:lumMod val="25000"/>
              <a:lumOff val="7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en-US" sz="14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CH</a:t>
            </a:r>
          </a:p>
        </p:txBody>
      </p:sp>
      <p:cxnSp>
        <p:nvCxnSpPr>
          <p:cNvPr id="130" name="Straight Arrow Connector 129"/>
          <p:cNvCxnSpPr/>
          <p:nvPr/>
        </p:nvCxnSpPr>
        <p:spPr bwMode="auto">
          <a:xfrm>
            <a:off x="2056953" y="5169764"/>
            <a:ext cx="4274070" cy="0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31" name="Oval 130"/>
          <p:cNvSpPr/>
          <p:nvPr>
            <p:custDataLst>
              <p:tags r:id="rId43"/>
            </p:custDataLst>
          </p:nvPr>
        </p:nvSpPr>
        <p:spPr bwMode="auto">
          <a:xfrm>
            <a:off x="1560258" y="5610749"/>
            <a:ext cx="544545" cy="457200"/>
          </a:xfrm>
          <a:prstGeom prst="ellipse">
            <a:avLst/>
          </a:prstGeom>
          <a:solidFill>
            <a:schemeClr val="tx2">
              <a:lumMod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en-US" sz="13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TC</a:t>
            </a:r>
            <a:endParaRPr lang="th-TH" sz="1300" b="1" dirty="0">
              <a:solidFill>
                <a:prstClr val="black">
                  <a:lumMod val="85000"/>
                  <a:lumOff val="15000"/>
                </a:prst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139" name="Straight Arrow Connector 138"/>
          <p:cNvCxnSpPr/>
          <p:nvPr/>
        </p:nvCxnSpPr>
        <p:spPr bwMode="auto">
          <a:xfrm>
            <a:off x="2056953" y="5839349"/>
            <a:ext cx="4480866" cy="0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40" name="TextBox 139"/>
          <p:cNvSpPr txBox="1"/>
          <p:nvPr>
            <p:custDataLst>
              <p:tags r:id="rId44"/>
            </p:custDataLst>
          </p:nvPr>
        </p:nvSpPr>
        <p:spPr>
          <a:xfrm>
            <a:off x="2627784" y="5610749"/>
            <a:ext cx="3307955" cy="21247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3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นับสนุนการดำเนินงานจัดตั้ง </a:t>
            </a:r>
            <a:r>
              <a:rPr lang="en-US" sz="13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TC</a:t>
            </a:r>
            <a:endParaRPr lang="th-TH" sz="13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42" name="TextBox 141"/>
          <p:cNvSpPr txBox="1"/>
          <p:nvPr>
            <p:custDataLst>
              <p:tags r:id="rId45"/>
            </p:custDataLst>
          </p:nvPr>
        </p:nvSpPr>
        <p:spPr>
          <a:xfrm>
            <a:off x="492625" y="4756512"/>
            <a:ext cx="3307955" cy="21247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4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</a:t>
            </a:r>
            <a:r>
              <a:rPr lang="en-US" sz="14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4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</a:t>
            </a:r>
            <a:r>
              <a:rPr lang="en-US" sz="14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58 (</a:t>
            </a:r>
            <a:r>
              <a:rPr lang="th-TH" sz="14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ดือนที่ </a:t>
            </a:r>
            <a:r>
              <a:rPr lang="en-US" sz="14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5 </a:t>
            </a:r>
            <a:r>
              <a:rPr lang="th-TH" sz="14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ของ </a:t>
            </a:r>
            <a:r>
              <a:rPr lang="en-US" sz="14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MS)</a:t>
            </a:r>
            <a:endParaRPr lang="th-TH" sz="1400" b="1" i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41" name="Oval 140"/>
          <p:cNvSpPr/>
          <p:nvPr>
            <p:custDataLst>
              <p:tags r:id="rId46"/>
            </p:custDataLst>
          </p:nvPr>
        </p:nvSpPr>
        <p:spPr bwMode="auto">
          <a:xfrm>
            <a:off x="6401792" y="5570109"/>
            <a:ext cx="544545" cy="457200"/>
          </a:xfrm>
          <a:prstGeom prst="ellipse">
            <a:avLst/>
          </a:prstGeom>
          <a:solidFill>
            <a:schemeClr val="tx2">
              <a:lumMod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rtlCol="0" anchor="ctr"/>
          <a:lstStyle/>
          <a:p>
            <a:pPr algn="ctr">
              <a:defRPr/>
            </a:pPr>
            <a:endParaRPr lang="th-TH" sz="1400" b="1" dirty="0">
              <a:solidFill>
                <a:prstClr val="black">
                  <a:lumMod val="85000"/>
                  <a:lumOff val="15000"/>
                </a:prst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43" name="Oval 142"/>
          <p:cNvSpPr/>
          <p:nvPr>
            <p:custDataLst>
              <p:tags r:id="rId47"/>
            </p:custDataLst>
          </p:nvPr>
        </p:nvSpPr>
        <p:spPr bwMode="auto">
          <a:xfrm>
            <a:off x="6399878" y="4941168"/>
            <a:ext cx="544545" cy="457200"/>
          </a:xfrm>
          <a:prstGeom prst="ellipse">
            <a:avLst/>
          </a:prstGeom>
          <a:solidFill>
            <a:schemeClr val="accent1">
              <a:lumMod val="25000"/>
              <a:lumOff val="7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rtlCol="0" anchor="ctr"/>
          <a:lstStyle/>
          <a:p>
            <a:pPr algn="ctr">
              <a:defRPr/>
            </a:pPr>
            <a:endParaRPr lang="en-US" sz="1400" b="1" dirty="0" smtClean="0">
              <a:solidFill>
                <a:prstClr val="black">
                  <a:lumMod val="85000"/>
                  <a:lumOff val="15000"/>
                </a:prst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44" name="TextBox 143"/>
          <p:cNvSpPr txBox="1"/>
          <p:nvPr>
            <p:custDataLst>
              <p:tags r:id="rId48"/>
            </p:custDataLst>
          </p:nvPr>
        </p:nvSpPr>
        <p:spPr>
          <a:xfrm>
            <a:off x="6252756" y="4919960"/>
            <a:ext cx="818232" cy="457200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en-US" sz="1300" b="1" dirty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CH substantial completion</a:t>
            </a:r>
          </a:p>
        </p:txBody>
      </p:sp>
      <p:sp>
        <p:nvSpPr>
          <p:cNvPr id="145" name="TextBox 144"/>
          <p:cNvSpPr txBox="1"/>
          <p:nvPr>
            <p:custDataLst>
              <p:tags r:id="rId49"/>
            </p:custDataLst>
          </p:nvPr>
        </p:nvSpPr>
        <p:spPr>
          <a:xfrm>
            <a:off x="6274048" y="5589240"/>
            <a:ext cx="818232" cy="457200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defRPr/>
            </a:pPr>
            <a:r>
              <a:rPr lang="th-TH" sz="13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จัดตั้ง </a:t>
            </a:r>
            <a:r>
              <a:rPr lang="en-US" sz="13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TC </a:t>
            </a:r>
          </a:p>
          <a:p>
            <a:pPr algn="ctr">
              <a:defRPr/>
            </a:pPr>
            <a:r>
              <a:rPr lang="th-TH" sz="13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ล้ว</a:t>
            </a:r>
            <a:r>
              <a:rPr lang="th-TH" sz="1300" b="1" dirty="0">
                <a:solidFill>
                  <a:prstClr val="black">
                    <a:lumMod val="85000"/>
                    <a:lumOff val="1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สร็จ</a:t>
            </a:r>
          </a:p>
        </p:txBody>
      </p:sp>
      <p:cxnSp>
        <p:nvCxnSpPr>
          <p:cNvPr id="146" name="Straight Arrow Connector 145"/>
          <p:cNvCxnSpPr/>
          <p:nvPr/>
        </p:nvCxnSpPr>
        <p:spPr bwMode="auto">
          <a:xfrm>
            <a:off x="6955287" y="5169764"/>
            <a:ext cx="269434" cy="0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47" name="Oval 146"/>
          <p:cNvSpPr/>
          <p:nvPr>
            <p:custDataLst>
              <p:tags r:id="rId50"/>
            </p:custDataLst>
          </p:nvPr>
        </p:nvSpPr>
        <p:spPr bwMode="auto">
          <a:xfrm>
            <a:off x="7246091" y="4836992"/>
            <a:ext cx="854301" cy="669581"/>
          </a:xfrm>
          <a:prstGeom prst="ellipse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th-TH" sz="1400" b="1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ิ้นสุดสัญญา</a:t>
            </a:r>
            <a:endParaRPr lang="en-US" sz="1400" b="1" dirty="0" smtClean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algn="ctr"/>
            <a:r>
              <a:rPr lang="en-US" sz="1400" b="1" dirty="0" smtClean="0">
                <a:solidFill>
                  <a:prstClr val="white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MS</a:t>
            </a:r>
            <a:endParaRPr lang="en-US" sz="1400" b="1" dirty="0">
              <a:solidFill>
                <a:prstClr val="white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48" name="TextBox 147"/>
          <p:cNvSpPr txBox="1"/>
          <p:nvPr>
            <p:custDataLst>
              <p:tags r:id="rId51"/>
            </p:custDataLst>
          </p:nvPr>
        </p:nvSpPr>
        <p:spPr>
          <a:xfrm>
            <a:off x="7143696" y="4656689"/>
            <a:ext cx="1054015" cy="21247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16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</a:t>
            </a:r>
            <a:r>
              <a:rPr lang="en-US" sz="16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6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</a:t>
            </a:r>
            <a:r>
              <a:rPr lang="en-US" sz="1600" b="1" i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60</a:t>
            </a:r>
            <a:endParaRPr lang="th-TH" sz="1600" b="1" i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49" name="Oval 148"/>
          <p:cNvSpPr/>
          <p:nvPr>
            <p:custDataLst>
              <p:tags r:id="rId52"/>
            </p:custDataLst>
          </p:nvPr>
        </p:nvSpPr>
        <p:spPr bwMode="auto">
          <a:xfrm>
            <a:off x="7391887" y="2492896"/>
            <a:ext cx="280718" cy="300603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19050" cap="flat" cmpd="sng" algn="ctr">
            <a:solidFill>
              <a:srgbClr val="000099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/>
          <a:lstStyle/>
          <a:p>
            <a:pPr algn="ctr">
              <a:defRPr/>
            </a:pPr>
            <a:r>
              <a:rPr lang="en-US" sz="1600" b="1" kern="0" dirty="0" smtClean="0">
                <a:solidFill>
                  <a:srgbClr val="000099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0</a:t>
            </a:r>
            <a:endParaRPr lang="th-TH" sz="1600" b="1" kern="0" dirty="0">
              <a:solidFill>
                <a:srgbClr val="000099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150" name="Straight Arrow Connector 141"/>
          <p:cNvCxnSpPr>
            <a:stCxn id="11" idx="4"/>
            <a:endCxn id="149" idx="2"/>
          </p:cNvCxnSpPr>
          <p:nvPr/>
        </p:nvCxnSpPr>
        <p:spPr bwMode="auto">
          <a:xfrm rot="16200000" flipH="1">
            <a:off x="6884440" y="2135750"/>
            <a:ext cx="301185" cy="713709"/>
          </a:xfrm>
          <a:prstGeom prst="bentConnector2">
            <a:avLst/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51" name="TextBox 150"/>
          <p:cNvSpPr txBox="1"/>
          <p:nvPr>
            <p:custDataLst>
              <p:tags r:id="rId53"/>
            </p:custDataLst>
          </p:nvPr>
        </p:nvSpPr>
        <p:spPr>
          <a:xfrm>
            <a:off x="7482272" y="2492896"/>
            <a:ext cx="921356" cy="23258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th-TH"/>
            </a:defPPr>
            <a:lvl1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6">
                    <a:lumMod val="95000"/>
                    <a:lumOff val="5000"/>
                  </a:schemeClr>
                </a:solidFill>
                <a:latin typeface="Cordia New" panose="020B0304020202020204" pitchFamily="34" charset="-34"/>
                <a:cs typeface="Cordia New" panose="020B0304020202020204" pitchFamily="34" charset="-34"/>
              </a:defRPr>
            </a:lvl1pPr>
          </a:lstStyle>
          <a:p>
            <a:pPr algn="ctr"/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</a:t>
            </a:r>
            <a:r>
              <a:rPr lang="th-TH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en-US" sz="17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60</a:t>
            </a:r>
            <a:endParaRPr lang="th-TH" sz="17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152" name="TextBox 151"/>
          <p:cNvSpPr txBox="1"/>
          <p:nvPr>
            <p:custDataLst>
              <p:tags r:id="rId54"/>
            </p:custDataLst>
          </p:nvPr>
        </p:nvSpPr>
        <p:spPr>
          <a:xfrm>
            <a:off x="6634832" y="2734320"/>
            <a:ext cx="924168" cy="192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F/E Integration</a:t>
            </a:r>
            <a:endParaRPr lang="th-TH" sz="13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cxnSp>
        <p:nvCxnSpPr>
          <p:cNvPr id="89" name="Straight Arrow Connector 88"/>
          <p:cNvCxnSpPr/>
          <p:nvPr/>
        </p:nvCxnSpPr>
        <p:spPr bwMode="auto">
          <a:xfrm>
            <a:off x="7252799" y="3326416"/>
            <a:ext cx="1373359" cy="4"/>
          </a:xfrm>
          <a:prstGeom prst="straightConnector1">
            <a:avLst/>
          </a:prstGeom>
          <a:solidFill>
            <a:srgbClr val="00206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93" name="TextBox 92"/>
          <p:cNvSpPr txBox="1"/>
          <p:nvPr>
            <p:custDataLst>
              <p:tags r:id="rId55"/>
            </p:custDataLst>
          </p:nvPr>
        </p:nvSpPr>
        <p:spPr>
          <a:xfrm>
            <a:off x="7236296" y="3119127"/>
            <a:ext cx="1353075" cy="192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Operate and </a:t>
            </a:r>
            <a:r>
              <a:rPr lang="en-US" sz="14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maintenance</a:t>
            </a:r>
            <a:endParaRPr lang="th-TH" sz="12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118744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z="2400" dirty="0" smtClean="0"/>
              <a:t>นโยบายอัตราค่าโดยสารในแต่ละช่วงเวลา</a:t>
            </a:r>
            <a:endParaRPr lang="th-TH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5" name="Rectangle 4"/>
          <p:cNvSpPr/>
          <p:nvPr>
            <p:custDataLst>
              <p:tags r:id="rId1"/>
            </p:custDataLst>
          </p:nvPr>
        </p:nvSpPr>
        <p:spPr bwMode="auto">
          <a:xfrm>
            <a:off x="259251" y="1198980"/>
            <a:ext cx="1262910" cy="163238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</a:pPr>
            <a:r>
              <a:rPr lang="en-US" sz="1800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National Card </a:t>
            </a:r>
          </a:p>
          <a:p>
            <a:pPr algn="ctr">
              <a:lnSpc>
                <a:spcPct val="85000"/>
              </a:lnSpc>
            </a:pPr>
            <a:r>
              <a:rPr lang="en-US" sz="1800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Adoption Phase</a:t>
            </a:r>
          </a:p>
          <a:p>
            <a:pPr algn="ctr">
              <a:lnSpc>
                <a:spcPct val="85000"/>
              </a:lnSpc>
            </a:pPr>
            <a:r>
              <a:rPr lang="en-US" sz="1800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(Short-term)</a:t>
            </a:r>
            <a:endParaRPr lang="th-TH" sz="1800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6" name="Rectangle 5"/>
          <p:cNvSpPr/>
          <p:nvPr>
            <p:custDataLst>
              <p:tags r:id="rId2"/>
            </p:custDataLst>
          </p:nvPr>
        </p:nvSpPr>
        <p:spPr bwMode="auto">
          <a:xfrm>
            <a:off x="251523" y="3212976"/>
            <a:ext cx="1262910" cy="264272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>
              <a:lnSpc>
                <a:spcPct val="85000"/>
              </a:lnSpc>
            </a:pPr>
            <a:r>
              <a:rPr lang="en-US" sz="1800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Long-Term </a:t>
            </a:r>
          </a:p>
          <a:p>
            <a:pPr algn="ctr">
              <a:lnSpc>
                <a:spcPct val="85000"/>
              </a:lnSpc>
            </a:pPr>
            <a:r>
              <a:rPr lang="en-US" sz="1800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Fare Scheme</a:t>
            </a:r>
            <a:endParaRPr lang="th-TH" sz="1800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7" name="Straight Arrow Connector 6"/>
          <p:cNvCxnSpPr/>
          <p:nvPr>
            <p:custDataLst>
              <p:tags r:id="rId3"/>
            </p:custDataLst>
          </p:nvPr>
        </p:nvCxnSpPr>
        <p:spPr bwMode="auto">
          <a:xfrm>
            <a:off x="384458" y="2996952"/>
            <a:ext cx="837508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" name="Rectangle 7"/>
          <p:cNvSpPr/>
          <p:nvPr/>
        </p:nvSpPr>
        <p:spPr bwMode="auto">
          <a:xfrm>
            <a:off x="1713836" y="1773133"/>
            <a:ext cx="1129972" cy="48248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800" dirty="0" smtClean="0">
                <a:latin typeface="Cordia New" pitchFamily="34" charset="-34"/>
                <a:cs typeface="Cordia New" pitchFamily="34" charset="-34"/>
              </a:rPr>
              <a:t>Mode</a:t>
            </a:r>
            <a:endParaRPr lang="th-TH" sz="180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713836" y="2348880"/>
            <a:ext cx="1129972" cy="48248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800" dirty="0" smtClean="0">
                <a:latin typeface="Cordia New" pitchFamily="34" charset="-34"/>
                <a:cs typeface="Cordia New" pitchFamily="34" charset="-34"/>
              </a:rPr>
              <a:t>Fare base</a:t>
            </a:r>
            <a:endParaRPr lang="th-TH" sz="180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2976753" y="1773133"/>
            <a:ext cx="1293439" cy="482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600" b="0" dirty="0" smtClean="0">
                <a:latin typeface="Cordia New" pitchFamily="34" charset="-34"/>
                <a:cs typeface="Cordia New" pitchFamily="34" charset="-34"/>
              </a:rPr>
              <a:t>BUS</a:t>
            </a:r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485935" y="1773133"/>
            <a:ext cx="1332631" cy="482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600" b="0" dirty="0" smtClean="0">
                <a:latin typeface="Cordia New" pitchFamily="34" charset="-34"/>
                <a:cs typeface="Cordia New" pitchFamily="34" charset="-34"/>
              </a:rPr>
              <a:t>RAIL</a:t>
            </a:r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973621" y="1773133"/>
            <a:ext cx="1293439" cy="482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600" b="0" dirty="0" smtClean="0">
                <a:latin typeface="Cordia New" pitchFamily="34" charset="-34"/>
                <a:cs typeface="Cordia New" pitchFamily="34" charset="-34"/>
              </a:rPr>
              <a:t>Ferry</a:t>
            </a:r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7472051" y="1773133"/>
            <a:ext cx="1293439" cy="482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600" b="0" dirty="0" smtClean="0">
                <a:latin typeface="Cordia New" pitchFamily="34" charset="-34"/>
                <a:cs typeface="Cordia New" pitchFamily="34" charset="-34"/>
              </a:rPr>
              <a:t>Toll</a:t>
            </a:r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1713836" y="1201035"/>
            <a:ext cx="1129972" cy="48248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800" dirty="0" smtClean="0">
                <a:latin typeface="Cordia New" pitchFamily="34" charset="-34"/>
                <a:cs typeface="Cordia New" pitchFamily="34" charset="-34"/>
              </a:rPr>
              <a:t>SPs</a:t>
            </a:r>
            <a:endParaRPr lang="th-TH" sz="1800" dirty="0" smtClean="0">
              <a:latin typeface="Cordia New" pitchFamily="34" charset="-34"/>
              <a:cs typeface="Cordia New" pitchFamily="34" charset="-34"/>
            </a:endParaRPr>
          </a:p>
        </p:txBody>
      </p:sp>
      <p:pic>
        <p:nvPicPr>
          <p:cNvPr id="15" name="Picture 2" descr="http://a0.twimg.com/profile_images/853154558/Official_Logo_bts.J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62045" y="1252064"/>
            <a:ext cx="267797" cy="331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80993" y="1344614"/>
            <a:ext cx="388047" cy="138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" descr="http://jobparttimes.com/wp-content/uploads/2011/10/pr_153188.gif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1302811"/>
            <a:ext cx="195572" cy="229885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18" name="Picture 3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 rotWithShape="1"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56885" y="1308730"/>
            <a:ext cx="254823" cy="140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Straight Connector 18"/>
          <p:cNvCxnSpPr/>
          <p:nvPr>
            <p:custDataLst>
              <p:tags r:id="rId8"/>
            </p:custDataLst>
          </p:nvPr>
        </p:nvCxnSpPr>
        <p:spPr bwMode="auto">
          <a:xfrm>
            <a:off x="4862578" y="1494481"/>
            <a:ext cx="242824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5" descr="http://saethailand.com/en/thailand/images/180px-BMTA_Eng_Logo.svg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77869" y="1301055"/>
            <a:ext cx="309309" cy="268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pic>
        <p:nvPicPr>
          <p:cNvPr id="21" name="Picture 4" descr="http://www.thaigoodview.com/files/u72862/Bangkok_BRT_Logo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8045" y="1251055"/>
            <a:ext cx="352204" cy="401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5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 rotWithShape="1">
          <a:blip r:embed="rId33" cstate="print">
            <a:extLst>
              <a:ext uri="{BEBA8EAE-BF5A-486C-A8C5-ECC9F3942E4B}">
                <a14:imgProps xmlns:a14="http://schemas.microsoft.com/office/drawing/2010/main">
                  <a14:imgLayer r:embed="rId3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423" t="16542" r="29522"/>
          <a:stretch/>
        </p:blipFill>
        <p:spPr bwMode="auto">
          <a:xfrm>
            <a:off x="6158719" y="1218361"/>
            <a:ext cx="540286" cy="456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6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217" y="1218320"/>
            <a:ext cx="441602" cy="430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10" descr="http://t0.gstatic.com/images?q=tbn:ANd9GcTt7pj7zu2GW6l9rfcQpi2e6d-1ACbFOkD6tcThmXjV-qXP3t5IhA&amp;t=1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1174" y="1258119"/>
            <a:ext cx="353680" cy="368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8" descr="http://vigportal.mot.go.th/portal/templates/template0007/bXUTQeYdZSccWTZcTYVTXffVVQWQQRca/DOH_logo.jp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8771" y="1231785"/>
            <a:ext cx="391412" cy="421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ight Arrow 25"/>
          <p:cNvSpPr/>
          <p:nvPr/>
        </p:nvSpPr>
        <p:spPr bwMode="auto">
          <a:xfrm>
            <a:off x="2976746" y="2302224"/>
            <a:ext cx="4290310" cy="545113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0"/>
                  <a:lumOff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lumOff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lumOff val="50000"/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Flat Fare Per Journey (Flat Fare) (20b/ journey)</a:t>
            </a:r>
            <a:endParaRPr lang="th-TH" sz="1800" b="1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7" name="Right Arrow 26"/>
          <p:cNvSpPr/>
          <p:nvPr/>
        </p:nvSpPr>
        <p:spPr bwMode="auto">
          <a:xfrm>
            <a:off x="7472051" y="2274927"/>
            <a:ext cx="1293439" cy="599624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0"/>
                  <a:lumOff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lumOff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lumOff val="50000"/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r>
              <a:rPr lang="en-US" sz="1800" b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Flat Fare</a:t>
            </a:r>
            <a:endParaRPr lang="th-TH" sz="1800" b="1" dirty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1713836" y="3785074"/>
            <a:ext cx="1129972" cy="48248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800" dirty="0" smtClean="0">
                <a:latin typeface="Cordia New" pitchFamily="34" charset="-34"/>
                <a:cs typeface="Cordia New" pitchFamily="34" charset="-34"/>
              </a:rPr>
              <a:t>Mode</a:t>
            </a:r>
            <a:endParaRPr lang="th-TH" sz="180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1713836" y="4360821"/>
            <a:ext cx="1129972" cy="48248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800" dirty="0" smtClean="0">
                <a:latin typeface="Cordia New" pitchFamily="34" charset="-34"/>
                <a:cs typeface="Cordia New" pitchFamily="34" charset="-34"/>
              </a:rPr>
              <a:t>Fare base</a:t>
            </a:r>
            <a:endParaRPr lang="th-TH" sz="180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2976753" y="3785074"/>
            <a:ext cx="1293439" cy="482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600" b="0" dirty="0" smtClean="0">
                <a:latin typeface="Cordia New" pitchFamily="34" charset="-34"/>
                <a:cs typeface="Cordia New" pitchFamily="34" charset="-34"/>
              </a:rPr>
              <a:t>BUS</a:t>
            </a:r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4485935" y="3785074"/>
            <a:ext cx="1332631" cy="482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600" b="0" dirty="0" smtClean="0">
                <a:latin typeface="Cordia New" pitchFamily="34" charset="-34"/>
                <a:cs typeface="Cordia New" pitchFamily="34" charset="-34"/>
              </a:rPr>
              <a:t>RAIL</a:t>
            </a:r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5973621" y="3785074"/>
            <a:ext cx="1293439" cy="482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600" b="0" dirty="0" smtClean="0">
                <a:latin typeface="Cordia New" pitchFamily="34" charset="-34"/>
                <a:cs typeface="Cordia New" pitchFamily="34" charset="-34"/>
              </a:rPr>
              <a:t>Ferry</a:t>
            </a:r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7472051" y="3785074"/>
            <a:ext cx="1293439" cy="4824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600" b="0" dirty="0" smtClean="0">
                <a:latin typeface="Cordia New" pitchFamily="34" charset="-34"/>
                <a:cs typeface="Cordia New" pitchFamily="34" charset="-34"/>
              </a:rPr>
              <a:t>Toll</a:t>
            </a:r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713836" y="3212976"/>
            <a:ext cx="1129972" cy="48248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800" dirty="0" smtClean="0">
                <a:latin typeface="Cordia New" pitchFamily="34" charset="-34"/>
                <a:cs typeface="Cordia New" pitchFamily="34" charset="-34"/>
              </a:rPr>
              <a:t>SPs</a:t>
            </a:r>
            <a:endParaRPr lang="th-TH" sz="1800" dirty="0" smtClean="0">
              <a:latin typeface="Cordia New" pitchFamily="34" charset="-34"/>
              <a:cs typeface="Cordia New" pitchFamily="34" charset="-34"/>
            </a:endParaRPr>
          </a:p>
        </p:txBody>
      </p:sp>
      <p:pic>
        <p:nvPicPr>
          <p:cNvPr id="35" name="Picture 2" descr="http://a0.twimg.com/profile_images/853154558/Official_Logo_bts.JP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38675" y="3343427"/>
            <a:ext cx="221320" cy="273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5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 rotWithShape="1"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08985" y="3411065"/>
            <a:ext cx="388047" cy="138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4" descr="http://jobparttimes.com/wp-content/uploads/2011/10/pr_153188.gif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4857" y="3341279"/>
            <a:ext cx="236642" cy="278161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38" name="Picture 3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 rotWithShape="1"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3520" y="3395525"/>
            <a:ext cx="308336" cy="169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9" name="Straight Connector 38"/>
          <p:cNvCxnSpPr/>
          <p:nvPr>
            <p:custDataLst>
              <p:tags r:id="rId19"/>
            </p:custDataLst>
          </p:nvPr>
        </p:nvCxnSpPr>
        <p:spPr bwMode="auto">
          <a:xfrm>
            <a:off x="4815970" y="3598416"/>
            <a:ext cx="242824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0" name="Picture 15" descr="http://saethailand.com/en/thailand/images/180px-BMTA_Eng_Logo.svg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77869" y="3345909"/>
            <a:ext cx="309309" cy="268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pic>
        <p:nvPicPr>
          <p:cNvPr id="41" name="Picture 4" descr="http://www.thaigoodview.com/files/u72862/Bangkok_BRT_Logo.png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8045" y="3279388"/>
            <a:ext cx="352204" cy="401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5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 rotWithShape="1">
          <a:blip r:embed="rId33" cstate="print">
            <a:extLst>
              <a:ext uri="{BEBA8EAE-BF5A-486C-A8C5-ECC9F3942E4B}">
                <a14:imgProps xmlns:a14="http://schemas.microsoft.com/office/drawing/2010/main">
                  <a14:imgLayer r:embed="rId3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423" t="16542" r="29522"/>
          <a:stretch/>
        </p:blipFill>
        <p:spPr bwMode="auto">
          <a:xfrm>
            <a:off x="6081172" y="3252265"/>
            <a:ext cx="540286" cy="456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6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670" y="3265300"/>
            <a:ext cx="441602" cy="430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4" name="Picture 10" descr="http://t0.gstatic.com/images?q=tbn:ANd9GcTt7pj7zu2GW6l9rfcQpi2e6d-1ACbFOkD6tcThmXjV-qXP3t5IhA&amp;t=1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1174" y="3296158"/>
            <a:ext cx="353680" cy="368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8" descr="http://vigportal.mot.go.th/portal/templates/template0007/bXUTQeYdZSccWTZcTYVTXffVVQWQQRca/DOH_logo.jpg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8771" y="3269825"/>
            <a:ext cx="391412" cy="421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 45"/>
          <p:cNvSpPr/>
          <p:nvPr/>
        </p:nvSpPr>
        <p:spPr bwMode="auto">
          <a:xfrm>
            <a:off x="2976753" y="4402690"/>
            <a:ext cx="1293439" cy="39875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600" b="0" dirty="0" smtClean="0">
                <a:latin typeface="Cordia New" pitchFamily="34" charset="-34"/>
                <a:cs typeface="Cordia New" pitchFamily="34" charset="-34"/>
              </a:rPr>
              <a:t>Flat/ Distance</a:t>
            </a:r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4485956" y="4398402"/>
            <a:ext cx="1343901" cy="39875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600" b="0" dirty="0" smtClean="0">
                <a:latin typeface="Cordia New" pitchFamily="34" charset="-34"/>
                <a:cs typeface="Cordia New" pitchFamily="34" charset="-34"/>
              </a:rPr>
              <a:t>Moving zone</a:t>
            </a:r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5973621" y="4398402"/>
            <a:ext cx="1293439" cy="39875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600" b="0" dirty="0">
                <a:latin typeface="Cordia New" pitchFamily="34" charset="-34"/>
                <a:cs typeface="Cordia New" pitchFamily="34" charset="-34"/>
              </a:rPr>
              <a:t>Distance base</a:t>
            </a:r>
            <a:endParaRPr lang="th-TH" sz="1600" b="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7472051" y="4398402"/>
            <a:ext cx="1293439" cy="39875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1600" dirty="0">
                <a:latin typeface="Cordia New" pitchFamily="34" charset="-34"/>
                <a:cs typeface="Cordia New" pitchFamily="34" charset="-34"/>
              </a:rPr>
              <a:t>Flat/ Distance</a:t>
            </a:r>
            <a:endParaRPr lang="th-TH" sz="16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53" name="Rectangle 52"/>
          <p:cNvSpPr/>
          <p:nvPr/>
        </p:nvSpPr>
        <p:spPr bwMode="auto">
          <a:xfrm>
            <a:off x="3167769" y="5229200"/>
            <a:ext cx="5507335" cy="530737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en-US" sz="2000" b="1" dirty="0" smtClean="0">
                <a:latin typeface="Cordia New" pitchFamily="34" charset="-34"/>
                <a:cs typeface="Cordia New" pitchFamily="34" charset="-34"/>
              </a:rPr>
              <a:t>Government subsidize transfer fee</a:t>
            </a:r>
            <a:endParaRPr lang="th-TH" sz="2000" b="1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57" name="Up Arrow 56"/>
          <p:cNvSpPr/>
          <p:nvPr/>
        </p:nvSpPr>
        <p:spPr bwMode="auto">
          <a:xfrm>
            <a:off x="4211960" y="4797152"/>
            <a:ext cx="301116" cy="24115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58" name="Up Arrow 57"/>
          <p:cNvSpPr/>
          <p:nvPr/>
        </p:nvSpPr>
        <p:spPr bwMode="auto">
          <a:xfrm>
            <a:off x="5783052" y="4797152"/>
            <a:ext cx="301116" cy="24115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59" name="Up Arrow 58"/>
          <p:cNvSpPr/>
          <p:nvPr/>
        </p:nvSpPr>
        <p:spPr bwMode="auto">
          <a:xfrm>
            <a:off x="7236296" y="4797152"/>
            <a:ext cx="301116" cy="24115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/>
          <a:p>
            <a:pPr algn="ctr"/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081214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73114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8" name="think-cell Slide" r:id="rId57" imgW="360" imgH="360" progId="">
                  <p:embed/>
                </p:oleObj>
              </mc:Choice>
              <mc:Fallback>
                <p:oleObj name="think-cell Slide" r:id="rId57" imgW="360" imgH="360" progId="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th-TH" sz="2400" dirty="0"/>
              <a:t>โครงสร้างอัตราค่า</a:t>
            </a:r>
            <a:r>
              <a:rPr lang="th-TH" sz="2400" dirty="0" smtClean="0"/>
              <a:t>โดยสาร </a:t>
            </a:r>
            <a:r>
              <a:rPr lang="en-US" sz="1800" b="0" i="1" dirty="0" smtClean="0"/>
              <a:t>(</a:t>
            </a:r>
            <a:r>
              <a:rPr lang="th-TH" sz="1800" b="0" i="1" dirty="0"/>
              <a:t>ตัวอย่างในเบื้องต้น</a:t>
            </a:r>
            <a:r>
              <a:rPr lang="en-US" sz="1800" b="0" i="1" dirty="0"/>
              <a:t>)</a:t>
            </a:r>
            <a:endParaRPr lang="th-TH" sz="2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B94437B2-E4A0-408A-A685-4D4BA5E1895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th-TH">
              <a:solidFill>
                <a:prstClr val="black"/>
              </a:solidFill>
            </a:endParaRPr>
          </a:p>
        </p:txBody>
      </p:sp>
      <p:sp>
        <p:nvSpPr>
          <p:cNvPr id="153" name="Rectangle 152"/>
          <p:cNvSpPr/>
          <p:nvPr>
            <p:custDataLst>
              <p:tags r:id="rId5"/>
            </p:custDataLst>
          </p:nvPr>
        </p:nvSpPr>
        <p:spPr bwMode="auto">
          <a:xfrm>
            <a:off x="1500531" y="1052745"/>
            <a:ext cx="4495918" cy="1179588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4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54" name="Oval 153"/>
          <p:cNvSpPr/>
          <p:nvPr>
            <p:custDataLst>
              <p:tags r:id="rId6"/>
            </p:custDataLst>
          </p:nvPr>
        </p:nvSpPr>
        <p:spPr bwMode="auto">
          <a:xfrm>
            <a:off x="2360045" y="1666161"/>
            <a:ext cx="349412" cy="324540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latin typeface="Cordia New" pitchFamily="34" charset="-34"/>
                <a:cs typeface="Cordia New" pitchFamily="34" charset="-34"/>
              </a:rPr>
              <a:t>Bus1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55" name="Oval 154"/>
          <p:cNvSpPr/>
          <p:nvPr>
            <p:custDataLst>
              <p:tags r:id="rId7"/>
            </p:custDataLst>
          </p:nvPr>
        </p:nvSpPr>
        <p:spPr bwMode="auto">
          <a:xfrm>
            <a:off x="3345515" y="1666161"/>
            <a:ext cx="349412" cy="324540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latin typeface="Cordia New" pitchFamily="34" charset="-34"/>
                <a:cs typeface="Cordia New" pitchFamily="34" charset="-34"/>
              </a:rPr>
              <a:t>Bus2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56" name="Oval 155"/>
          <p:cNvSpPr/>
          <p:nvPr>
            <p:custDataLst>
              <p:tags r:id="rId8"/>
            </p:custDataLst>
          </p:nvPr>
        </p:nvSpPr>
        <p:spPr bwMode="auto">
          <a:xfrm>
            <a:off x="4330985" y="1666161"/>
            <a:ext cx="349412" cy="324540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latin typeface="Cordia New" pitchFamily="34" charset="-34"/>
                <a:cs typeface="Cordia New" pitchFamily="34" charset="-34"/>
              </a:rPr>
              <a:t>Bus3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57" name="Oval 156"/>
          <p:cNvSpPr/>
          <p:nvPr>
            <p:custDataLst>
              <p:tags r:id="rId9"/>
            </p:custDataLst>
          </p:nvPr>
        </p:nvSpPr>
        <p:spPr bwMode="auto">
          <a:xfrm>
            <a:off x="5316455" y="1666161"/>
            <a:ext cx="349412" cy="324540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latin typeface="Cordia New" pitchFamily="34" charset="-34"/>
                <a:cs typeface="Cordia New" pitchFamily="34" charset="-34"/>
              </a:rPr>
              <a:t>Bus4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158" name="Curved Connector 157"/>
          <p:cNvCxnSpPr>
            <a:stCxn id="154" idx="0"/>
            <a:endCxn id="155" idx="0"/>
          </p:cNvCxnSpPr>
          <p:nvPr>
            <p:custDataLst>
              <p:tags r:id="rId10"/>
            </p:custDataLst>
          </p:nvPr>
        </p:nvCxnSpPr>
        <p:spPr bwMode="auto">
          <a:xfrm rot="5400000" flipH="1" flipV="1">
            <a:off x="3027452" y="1173429"/>
            <a:ext cx="11728" cy="985470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59" name="Curved Connector 158"/>
          <p:cNvCxnSpPr>
            <a:stCxn id="155" idx="0"/>
            <a:endCxn id="156" idx="0"/>
          </p:cNvCxnSpPr>
          <p:nvPr>
            <p:custDataLst>
              <p:tags r:id="rId11"/>
            </p:custDataLst>
          </p:nvPr>
        </p:nvCxnSpPr>
        <p:spPr bwMode="auto">
          <a:xfrm rot="5400000" flipH="1" flipV="1">
            <a:off x="4012922" y="1173429"/>
            <a:ext cx="11728" cy="985470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60" name="Curved Connector 159"/>
          <p:cNvCxnSpPr>
            <a:stCxn id="156" idx="0"/>
            <a:endCxn id="157" idx="0"/>
          </p:cNvCxnSpPr>
          <p:nvPr>
            <p:custDataLst>
              <p:tags r:id="rId12"/>
            </p:custDataLst>
          </p:nvPr>
        </p:nvCxnSpPr>
        <p:spPr bwMode="auto">
          <a:xfrm rot="5400000" flipH="1" flipV="1">
            <a:off x="4998392" y="1173429"/>
            <a:ext cx="11728" cy="985470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sp>
        <p:nvSpPr>
          <p:cNvPr id="161" name="Oval 160"/>
          <p:cNvSpPr/>
          <p:nvPr>
            <p:custDataLst>
              <p:tags r:id="rId13"/>
            </p:custDataLst>
          </p:nvPr>
        </p:nvSpPr>
        <p:spPr bwMode="auto">
          <a:xfrm>
            <a:off x="2326250" y="1128312"/>
            <a:ext cx="511574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 smtClean="0">
                <a:latin typeface="Cordia New" pitchFamily="34" charset="-34"/>
                <a:cs typeface="Cordia New" pitchFamily="34" charset="-34"/>
              </a:rPr>
              <a:t>เต็มอัตรา</a:t>
            </a:r>
            <a:endParaRPr lang="th-TH" sz="1600" b="1" i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62" name="Oval 161"/>
          <p:cNvSpPr/>
          <p:nvPr>
            <p:custDataLst>
              <p:tags r:id="rId14"/>
            </p:custDataLst>
          </p:nvPr>
        </p:nvSpPr>
        <p:spPr bwMode="auto">
          <a:xfrm>
            <a:off x="3332961" y="1128312"/>
            <a:ext cx="349412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 smtClean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ได้รับยกเว้น</a:t>
            </a:r>
            <a:endParaRPr lang="th-TH" sz="1400" b="1" i="1" dirty="0">
              <a:solidFill>
                <a:srgbClr val="C00000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63" name="Oval 162"/>
          <p:cNvSpPr/>
          <p:nvPr>
            <p:custDataLst>
              <p:tags r:id="rId15"/>
            </p:custDataLst>
          </p:nvPr>
        </p:nvSpPr>
        <p:spPr bwMode="auto">
          <a:xfrm>
            <a:off x="4324708" y="1128312"/>
            <a:ext cx="349412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ได้รับยกเว้น</a:t>
            </a:r>
          </a:p>
        </p:txBody>
      </p:sp>
      <p:sp>
        <p:nvSpPr>
          <p:cNvPr id="164" name="Oval 163"/>
          <p:cNvSpPr/>
          <p:nvPr>
            <p:custDataLst>
              <p:tags r:id="rId16"/>
            </p:custDataLst>
          </p:nvPr>
        </p:nvSpPr>
        <p:spPr bwMode="auto">
          <a:xfrm>
            <a:off x="5335285" y="1128312"/>
            <a:ext cx="349412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>
                <a:latin typeface="Cordia New" pitchFamily="34" charset="-34"/>
                <a:cs typeface="Cordia New" pitchFamily="34" charset="-34"/>
              </a:rPr>
              <a:t>เต็มอัตรา</a:t>
            </a:r>
            <a:endParaRPr lang="th-TH" sz="1600" b="1" i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65" name="Rectangle 164"/>
          <p:cNvSpPr/>
          <p:nvPr>
            <p:custDataLst>
              <p:tags r:id="rId17"/>
            </p:custDataLst>
          </p:nvPr>
        </p:nvSpPr>
        <p:spPr bwMode="auto">
          <a:xfrm>
            <a:off x="1500531" y="2348886"/>
            <a:ext cx="4495918" cy="1148605"/>
          </a:xfrm>
          <a:prstGeom prst="rect">
            <a:avLst/>
          </a:prstGeom>
          <a:solidFill>
            <a:schemeClr val="accent3">
              <a:lumMod val="20000"/>
              <a:lumOff val="80000"/>
              <a:alpha val="96863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66" name="Oval 165"/>
          <p:cNvSpPr/>
          <p:nvPr>
            <p:custDataLst>
              <p:tags r:id="rId18"/>
            </p:custDataLst>
          </p:nvPr>
        </p:nvSpPr>
        <p:spPr bwMode="auto">
          <a:xfrm>
            <a:off x="2360045" y="3032452"/>
            <a:ext cx="349412" cy="32454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Bus1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67" name="Oval 166"/>
          <p:cNvSpPr/>
          <p:nvPr>
            <p:custDataLst>
              <p:tags r:id="rId19"/>
            </p:custDataLst>
          </p:nvPr>
        </p:nvSpPr>
        <p:spPr bwMode="auto">
          <a:xfrm>
            <a:off x="3345515" y="3032452"/>
            <a:ext cx="349412" cy="32454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Bus2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68" name="Oval 167"/>
          <p:cNvSpPr/>
          <p:nvPr>
            <p:custDataLst>
              <p:tags r:id="rId20"/>
            </p:custDataLst>
          </p:nvPr>
        </p:nvSpPr>
        <p:spPr bwMode="auto">
          <a:xfrm>
            <a:off x="4330985" y="3032452"/>
            <a:ext cx="349412" cy="32454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Rail1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69" name="Oval 168"/>
          <p:cNvSpPr/>
          <p:nvPr>
            <p:custDataLst>
              <p:tags r:id="rId21"/>
            </p:custDataLst>
          </p:nvPr>
        </p:nvSpPr>
        <p:spPr bwMode="auto">
          <a:xfrm>
            <a:off x="5316455" y="3032452"/>
            <a:ext cx="349412" cy="32454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Rail2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170" name="Curved Connector 169"/>
          <p:cNvCxnSpPr>
            <a:stCxn id="166" idx="0"/>
            <a:endCxn id="167" idx="0"/>
          </p:cNvCxnSpPr>
          <p:nvPr>
            <p:custDataLst>
              <p:tags r:id="rId22"/>
            </p:custDataLst>
          </p:nvPr>
        </p:nvCxnSpPr>
        <p:spPr bwMode="auto">
          <a:xfrm rot="5400000" flipH="1" flipV="1">
            <a:off x="3027486" y="2539720"/>
            <a:ext cx="12700" cy="985470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71" name="Curved Connector 170"/>
          <p:cNvCxnSpPr>
            <a:stCxn id="167" idx="0"/>
            <a:endCxn id="168" idx="0"/>
          </p:cNvCxnSpPr>
          <p:nvPr>
            <p:custDataLst>
              <p:tags r:id="rId23"/>
            </p:custDataLst>
          </p:nvPr>
        </p:nvCxnSpPr>
        <p:spPr bwMode="auto">
          <a:xfrm rot="5400000" flipH="1" flipV="1">
            <a:off x="4012922" y="2539720"/>
            <a:ext cx="11728" cy="985470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72" name="Curved Connector 171"/>
          <p:cNvCxnSpPr>
            <a:stCxn id="168" idx="0"/>
            <a:endCxn id="169" idx="0"/>
          </p:cNvCxnSpPr>
          <p:nvPr>
            <p:custDataLst>
              <p:tags r:id="rId24"/>
            </p:custDataLst>
          </p:nvPr>
        </p:nvCxnSpPr>
        <p:spPr bwMode="auto">
          <a:xfrm rot="5400000" flipH="1" flipV="1">
            <a:off x="4998392" y="2539720"/>
            <a:ext cx="11728" cy="985470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sp>
        <p:nvSpPr>
          <p:cNvPr id="173" name="Oval 172"/>
          <p:cNvSpPr/>
          <p:nvPr>
            <p:custDataLst>
              <p:tags r:id="rId25"/>
            </p:custDataLst>
          </p:nvPr>
        </p:nvSpPr>
        <p:spPr bwMode="auto">
          <a:xfrm>
            <a:off x="2407331" y="2494603"/>
            <a:ext cx="349412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>
                <a:latin typeface="Cordia New" pitchFamily="34" charset="-34"/>
                <a:cs typeface="Cordia New" pitchFamily="34" charset="-34"/>
              </a:rPr>
              <a:t>เต็มอัตรา</a:t>
            </a:r>
            <a:endParaRPr lang="th-TH" sz="1600" b="1" i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74" name="Oval 173"/>
          <p:cNvSpPr/>
          <p:nvPr>
            <p:custDataLst>
              <p:tags r:id="rId26"/>
            </p:custDataLst>
          </p:nvPr>
        </p:nvSpPr>
        <p:spPr bwMode="auto">
          <a:xfrm>
            <a:off x="3332961" y="2494603"/>
            <a:ext cx="349412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ได้รับยกเว้น</a:t>
            </a:r>
          </a:p>
        </p:txBody>
      </p:sp>
      <p:sp>
        <p:nvSpPr>
          <p:cNvPr id="175" name="Oval 174"/>
          <p:cNvSpPr/>
          <p:nvPr>
            <p:custDataLst>
              <p:tags r:id="rId27"/>
            </p:custDataLst>
          </p:nvPr>
        </p:nvSpPr>
        <p:spPr bwMode="auto">
          <a:xfrm>
            <a:off x="4046275" y="2494603"/>
            <a:ext cx="906285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 smtClean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ส่วนลด </a:t>
            </a:r>
            <a:r>
              <a:rPr lang="en-US" sz="1400" b="1" i="1" dirty="0" smtClean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[10] </a:t>
            </a:r>
            <a:r>
              <a:rPr lang="th-TH" sz="1400" b="1" i="1" dirty="0" smtClean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บ.</a:t>
            </a:r>
            <a:endParaRPr lang="th-TH" sz="1400" b="1" i="1" dirty="0">
              <a:solidFill>
                <a:srgbClr val="C00000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76" name="Oval 175"/>
          <p:cNvSpPr/>
          <p:nvPr>
            <p:custDataLst>
              <p:tags r:id="rId28"/>
            </p:custDataLst>
          </p:nvPr>
        </p:nvSpPr>
        <p:spPr bwMode="auto">
          <a:xfrm>
            <a:off x="5114292" y="2494603"/>
            <a:ext cx="816426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>
                <a:latin typeface="Cordia New" pitchFamily="34" charset="-34"/>
                <a:cs typeface="Cordia New" pitchFamily="34" charset="-34"/>
              </a:rPr>
              <a:t>เต็มอัตรา</a:t>
            </a:r>
            <a:endParaRPr lang="th-TH" sz="1600" b="1" i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77" name="Rectangle 176"/>
          <p:cNvSpPr/>
          <p:nvPr/>
        </p:nvSpPr>
        <p:spPr bwMode="auto">
          <a:xfrm>
            <a:off x="1566648" y="1128318"/>
            <a:ext cx="694476" cy="332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latin typeface="Cordia New" pitchFamily="34" charset="-34"/>
                <a:cs typeface="Cordia New" pitchFamily="34" charset="-34"/>
              </a:rPr>
              <a:t>อัตราใหม่</a:t>
            </a:r>
            <a:endParaRPr lang="th-TH" sz="14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78" name="Rectangle 177"/>
          <p:cNvSpPr/>
          <p:nvPr/>
        </p:nvSpPr>
        <p:spPr bwMode="auto">
          <a:xfrm>
            <a:off x="1566648" y="1660302"/>
            <a:ext cx="694476" cy="332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latin typeface="Cordia New" pitchFamily="34" charset="-34"/>
                <a:cs typeface="Cordia New" pitchFamily="34" charset="-34"/>
              </a:rPr>
              <a:t>ระบบ</a:t>
            </a:r>
            <a:endParaRPr lang="th-TH" sz="14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79" name="Rectangle 178"/>
          <p:cNvSpPr/>
          <p:nvPr>
            <p:custDataLst>
              <p:tags r:id="rId29"/>
            </p:custDataLst>
          </p:nvPr>
        </p:nvSpPr>
        <p:spPr bwMode="auto">
          <a:xfrm>
            <a:off x="1516242" y="3717037"/>
            <a:ext cx="5150845" cy="114860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4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80" name="Oval 179"/>
          <p:cNvSpPr/>
          <p:nvPr>
            <p:custDataLst>
              <p:tags r:id="rId30"/>
            </p:custDataLst>
          </p:nvPr>
        </p:nvSpPr>
        <p:spPr bwMode="auto">
          <a:xfrm>
            <a:off x="2375756" y="4372557"/>
            <a:ext cx="349412" cy="324540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Rail1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81" name="Oval 180"/>
          <p:cNvSpPr/>
          <p:nvPr>
            <p:custDataLst>
              <p:tags r:id="rId31"/>
            </p:custDataLst>
          </p:nvPr>
        </p:nvSpPr>
        <p:spPr bwMode="auto">
          <a:xfrm>
            <a:off x="3361226" y="4372557"/>
            <a:ext cx="349412" cy="324540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Rail2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82" name="Oval 181"/>
          <p:cNvSpPr/>
          <p:nvPr>
            <p:custDataLst>
              <p:tags r:id="rId32"/>
            </p:custDataLst>
          </p:nvPr>
        </p:nvSpPr>
        <p:spPr bwMode="auto">
          <a:xfrm>
            <a:off x="4346696" y="4372557"/>
            <a:ext cx="349412" cy="324540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latin typeface="Cordia New" pitchFamily="34" charset="-34"/>
                <a:cs typeface="Cordia New" pitchFamily="34" charset="-34"/>
              </a:rPr>
              <a:t>Bus1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83" name="Oval 182"/>
          <p:cNvSpPr/>
          <p:nvPr>
            <p:custDataLst>
              <p:tags r:id="rId33"/>
            </p:custDataLst>
          </p:nvPr>
        </p:nvSpPr>
        <p:spPr bwMode="auto">
          <a:xfrm>
            <a:off x="5332166" y="4372557"/>
            <a:ext cx="349412" cy="324540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latin typeface="Cordia New" pitchFamily="34" charset="-34"/>
                <a:cs typeface="Cordia New" pitchFamily="34" charset="-34"/>
              </a:rPr>
              <a:t>Bus2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184" name="Curved Connector 183"/>
          <p:cNvCxnSpPr>
            <a:stCxn id="180" idx="0"/>
            <a:endCxn id="181" idx="0"/>
          </p:cNvCxnSpPr>
          <p:nvPr>
            <p:custDataLst>
              <p:tags r:id="rId34"/>
            </p:custDataLst>
          </p:nvPr>
        </p:nvCxnSpPr>
        <p:spPr bwMode="auto">
          <a:xfrm rot="5400000" flipH="1" flipV="1">
            <a:off x="3043163" y="3879825"/>
            <a:ext cx="11728" cy="985470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85" name="Curved Connector 184"/>
          <p:cNvCxnSpPr>
            <a:stCxn id="181" idx="0"/>
            <a:endCxn id="182" idx="0"/>
          </p:cNvCxnSpPr>
          <p:nvPr>
            <p:custDataLst>
              <p:tags r:id="rId35"/>
            </p:custDataLst>
          </p:nvPr>
        </p:nvCxnSpPr>
        <p:spPr bwMode="auto">
          <a:xfrm rot="5400000" flipH="1" flipV="1">
            <a:off x="4028633" y="3879825"/>
            <a:ext cx="11728" cy="985470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86" name="Curved Connector 185"/>
          <p:cNvCxnSpPr>
            <a:stCxn id="182" idx="0"/>
            <a:endCxn id="183" idx="0"/>
          </p:cNvCxnSpPr>
          <p:nvPr>
            <p:custDataLst>
              <p:tags r:id="rId36"/>
            </p:custDataLst>
          </p:nvPr>
        </p:nvCxnSpPr>
        <p:spPr bwMode="auto">
          <a:xfrm rot="5400000" flipH="1" flipV="1">
            <a:off x="5014103" y="3879825"/>
            <a:ext cx="11728" cy="985470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sp>
        <p:nvSpPr>
          <p:cNvPr id="187" name="Oval 186"/>
          <p:cNvSpPr/>
          <p:nvPr>
            <p:custDataLst>
              <p:tags r:id="rId37"/>
            </p:custDataLst>
          </p:nvPr>
        </p:nvSpPr>
        <p:spPr bwMode="auto">
          <a:xfrm>
            <a:off x="2462974" y="3834707"/>
            <a:ext cx="349412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 smtClean="0">
                <a:latin typeface="Cordia New" pitchFamily="34" charset="-34"/>
                <a:cs typeface="Cordia New" pitchFamily="34" charset="-34"/>
              </a:rPr>
              <a:t>ส่วนลด </a:t>
            </a:r>
            <a:r>
              <a:rPr lang="en-US" sz="1400" b="1" i="1" dirty="0" smtClean="0">
                <a:latin typeface="Cordia New" pitchFamily="34" charset="-34"/>
                <a:cs typeface="Cordia New" pitchFamily="34" charset="-34"/>
              </a:rPr>
              <a:t>[5]</a:t>
            </a:r>
            <a:r>
              <a:rPr lang="th-TH" sz="1400" b="1" i="1" dirty="0" smtClean="0">
                <a:latin typeface="Cordia New" pitchFamily="34" charset="-34"/>
                <a:cs typeface="Cordia New" pitchFamily="34" charset="-34"/>
              </a:rPr>
              <a:t> บ.</a:t>
            </a:r>
            <a:endParaRPr lang="en-US" sz="1400" b="1" i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88" name="Oval 187"/>
          <p:cNvSpPr/>
          <p:nvPr>
            <p:custDataLst>
              <p:tags r:id="rId38"/>
            </p:custDataLst>
          </p:nvPr>
        </p:nvSpPr>
        <p:spPr bwMode="auto">
          <a:xfrm>
            <a:off x="3348672" y="3834707"/>
            <a:ext cx="349412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 smtClean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ส่วนลด </a:t>
            </a:r>
            <a:r>
              <a:rPr lang="en-US" sz="1400" b="1" i="1" dirty="0" smtClean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[10] </a:t>
            </a:r>
            <a:r>
              <a:rPr lang="th-TH" sz="1400" b="1" i="1" dirty="0" smtClean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บ.</a:t>
            </a:r>
            <a:endParaRPr lang="th-TH" sz="1400" b="1" i="1" dirty="0">
              <a:solidFill>
                <a:srgbClr val="C00000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89" name="Oval 188"/>
          <p:cNvSpPr/>
          <p:nvPr>
            <p:custDataLst>
              <p:tags r:id="rId39"/>
            </p:custDataLst>
          </p:nvPr>
        </p:nvSpPr>
        <p:spPr bwMode="auto">
          <a:xfrm>
            <a:off x="4061986" y="3834707"/>
            <a:ext cx="906285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ได้รับยกเว้น</a:t>
            </a:r>
          </a:p>
        </p:txBody>
      </p:sp>
      <p:sp>
        <p:nvSpPr>
          <p:cNvPr id="190" name="Oval 189"/>
          <p:cNvSpPr/>
          <p:nvPr>
            <p:custDataLst>
              <p:tags r:id="rId40"/>
            </p:custDataLst>
          </p:nvPr>
        </p:nvSpPr>
        <p:spPr bwMode="auto">
          <a:xfrm>
            <a:off x="5305728" y="3834707"/>
            <a:ext cx="349412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ได้รับยกเว้น</a:t>
            </a:r>
          </a:p>
        </p:txBody>
      </p:sp>
      <p:sp>
        <p:nvSpPr>
          <p:cNvPr id="191" name="Pentagon 190"/>
          <p:cNvSpPr/>
          <p:nvPr/>
        </p:nvSpPr>
        <p:spPr bwMode="auto">
          <a:xfrm>
            <a:off x="327560" y="1390648"/>
            <a:ext cx="1118461" cy="486800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20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กรณีที่</a:t>
            </a:r>
            <a:r>
              <a:rPr lang="en-US" sz="20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 1</a:t>
            </a:r>
            <a:endParaRPr lang="th-TH" sz="2000" b="1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2" name="Pentagon 191"/>
          <p:cNvSpPr/>
          <p:nvPr/>
        </p:nvSpPr>
        <p:spPr bwMode="auto">
          <a:xfrm>
            <a:off x="336029" y="2614784"/>
            <a:ext cx="1118461" cy="486800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2000" b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กรณีที่</a:t>
            </a:r>
            <a:r>
              <a:rPr lang="en-US" sz="20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 2</a:t>
            </a:r>
            <a:endParaRPr lang="th-TH" sz="2000" b="1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3" name="Pentagon 192"/>
          <p:cNvSpPr/>
          <p:nvPr/>
        </p:nvSpPr>
        <p:spPr bwMode="auto">
          <a:xfrm>
            <a:off x="352961" y="3972439"/>
            <a:ext cx="1118461" cy="486800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2000" b="1" dirty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กรณีที่</a:t>
            </a:r>
            <a:r>
              <a:rPr lang="en-US" sz="20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 3</a:t>
            </a:r>
            <a:endParaRPr lang="th-TH" sz="2000" b="1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4" name="Rectangle 193"/>
          <p:cNvSpPr/>
          <p:nvPr/>
        </p:nvSpPr>
        <p:spPr bwMode="auto">
          <a:xfrm>
            <a:off x="6091100" y="1052751"/>
            <a:ext cx="2945396" cy="114860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36000" rIns="0" rtlCol="0" anchor="ctr"/>
          <a:lstStyle/>
          <a:p>
            <a:pPr marL="95250" indent="-95250">
              <a:buFont typeface="Arial" pitchFamily="34" charset="0"/>
              <a:buChar char="•"/>
            </a:pPr>
            <a:r>
              <a:rPr lang="th-TH" sz="1600" dirty="0" smtClean="0">
                <a:latin typeface="Cordia New" pitchFamily="34" charset="-34"/>
                <a:cs typeface="Cordia New" pitchFamily="34" charset="-34"/>
              </a:rPr>
              <a:t>ชำระค่าโดยสารตามจริงในการเดินทางเที่ยวแรก</a:t>
            </a:r>
            <a:endParaRPr lang="en-US" sz="1600" baseline="30000" dirty="0" smtClean="0">
              <a:latin typeface="Cordia New" pitchFamily="34" charset="-34"/>
              <a:cs typeface="Cordia New" pitchFamily="34" charset="-34"/>
            </a:endParaRPr>
          </a:p>
          <a:p>
            <a:pPr marL="95250" indent="-95250">
              <a:buFont typeface="Arial" pitchFamily="34" charset="0"/>
              <a:buChar char="•"/>
            </a:pPr>
            <a:r>
              <a:rPr lang="th-TH" sz="1600" dirty="0" smtClean="0">
                <a:latin typeface="Cordia New" pitchFamily="34" charset="-34"/>
                <a:cs typeface="Cordia New" pitchFamily="34" charset="-34"/>
              </a:rPr>
              <a:t>ยกเว้นค่าโดยสารสำหรับการเดินทางเชื่อมต่อภายในระบบรถโดยสารประจำทาง </a:t>
            </a:r>
            <a:r>
              <a:rPr lang="en-US" sz="1600" dirty="0" smtClean="0">
                <a:latin typeface="Cordia New" pitchFamily="34" charset="-34"/>
                <a:cs typeface="Cordia New" pitchFamily="34" charset="-34"/>
              </a:rPr>
              <a:t>[2 </a:t>
            </a:r>
            <a:r>
              <a:rPr lang="en-US" sz="1600" dirty="0">
                <a:latin typeface="Cordia New" pitchFamily="34" charset="-34"/>
                <a:cs typeface="Cordia New" pitchFamily="34" charset="-34"/>
              </a:rPr>
              <a:t>]</a:t>
            </a:r>
            <a:r>
              <a:rPr lang="th-TH" sz="1600" dirty="0" smtClean="0">
                <a:latin typeface="Cordia New" pitchFamily="34" charset="-34"/>
                <a:cs typeface="Cordia New" pitchFamily="34" charset="-34"/>
              </a:rPr>
              <a:t>ครั้ง </a:t>
            </a:r>
            <a:r>
              <a:rPr lang="th-TH" sz="1200" dirty="0" smtClean="0">
                <a:latin typeface="Cordia New" pitchFamily="34" charset="-34"/>
                <a:cs typeface="Cordia New" pitchFamily="34" charset="-34"/>
              </a:rPr>
              <a:t>(</a:t>
            </a:r>
            <a:r>
              <a:rPr lang="en-US" sz="1200" dirty="0" smtClean="0">
                <a:latin typeface="Cordia New" pitchFamily="34" charset="-34"/>
                <a:cs typeface="Cordia New" pitchFamily="34" charset="-34"/>
              </a:rPr>
              <a:t>3 </a:t>
            </a:r>
            <a:r>
              <a:rPr lang="th-TH" sz="1200" dirty="0" smtClean="0">
                <a:latin typeface="Cordia New" pitchFamily="34" charset="-34"/>
                <a:cs typeface="Cordia New" pitchFamily="34" charset="-34"/>
              </a:rPr>
              <a:t>เที่ยว)</a:t>
            </a:r>
            <a:r>
              <a:rPr lang="en-US" sz="1200" dirty="0" smtClean="0">
                <a:latin typeface="Cordia New" pitchFamily="34" charset="-34"/>
                <a:cs typeface="Cordia New" pitchFamily="34" charset="-34"/>
              </a:rPr>
              <a:t> 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th-TH" sz="1600" b="0" dirty="0" smtClean="0">
                <a:latin typeface="Cordia New" pitchFamily="34" charset="-34"/>
                <a:cs typeface="Cordia New" pitchFamily="34" charset="-34"/>
              </a:rPr>
              <a:t>ชำระค่าโดยสารตามจริงในเที่ยวที่ </a:t>
            </a:r>
            <a:r>
              <a:rPr lang="en-US" sz="1600" b="0" dirty="0" smtClean="0">
                <a:latin typeface="Cordia New" pitchFamily="34" charset="-34"/>
                <a:cs typeface="Cordia New" pitchFamily="34" charset="-34"/>
              </a:rPr>
              <a:t>[4]</a:t>
            </a:r>
            <a:endParaRPr lang="th-TH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5" name="Rectangle 194"/>
          <p:cNvSpPr/>
          <p:nvPr/>
        </p:nvSpPr>
        <p:spPr bwMode="auto">
          <a:xfrm>
            <a:off x="6090968" y="2348885"/>
            <a:ext cx="2928489" cy="11486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marL="177800" indent="-177800">
              <a:buFont typeface="Arial" pitchFamily="34" charset="0"/>
              <a:buChar char="•"/>
            </a:pPr>
            <a:r>
              <a:rPr lang="th-TH" sz="1600" dirty="0" smtClean="0">
                <a:latin typeface="Cordia New" pitchFamily="34" charset="-34"/>
                <a:cs typeface="Cordia New" pitchFamily="34" charset="-34"/>
              </a:rPr>
              <a:t>ส่วนลด </a:t>
            </a:r>
            <a:r>
              <a:rPr lang="en-US" sz="1600" dirty="0" smtClean="0">
                <a:latin typeface="Cordia New" pitchFamily="34" charset="-34"/>
                <a:cs typeface="Cordia New" pitchFamily="34" charset="-34"/>
              </a:rPr>
              <a:t>[10] </a:t>
            </a:r>
            <a:r>
              <a:rPr lang="th-TH" sz="1600" dirty="0" smtClean="0">
                <a:latin typeface="Cordia New" pitchFamily="34" charset="-34"/>
                <a:cs typeface="Cordia New" pitchFamily="34" charset="-34"/>
              </a:rPr>
              <a:t>บ. สำหรับการเชื่อมต่อระหว่างรถโดยสารประจำทางและระบบราง </a:t>
            </a:r>
            <a:r>
              <a:rPr lang="en-US" sz="1600" dirty="0" smtClean="0">
                <a:latin typeface="Cordia New" pitchFamily="34" charset="-34"/>
                <a:cs typeface="Cordia New" pitchFamily="34" charset="-34"/>
              </a:rPr>
              <a:t>[1] </a:t>
            </a:r>
            <a:r>
              <a:rPr lang="th-TH" sz="1600" dirty="0" smtClean="0">
                <a:latin typeface="Cordia New" pitchFamily="34" charset="-34"/>
                <a:cs typeface="Cordia New" pitchFamily="34" charset="-34"/>
              </a:rPr>
              <a:t>ครั้ง</a:t>
            </a:r>
            <a:endParaRPr lang="en-US" sz="1600" dirty="0" smtClean="0">
              <a:latin typeface="Cordia New" pitchFamily="34" charset="-34"/>
              <a:cs typeface="Cordia New" pitchFamily="34" charset="-34"/>
            </a:endParaRPr>
          </a:p>
          <a:p>
            <a:pPr marL="177800" indent="-177800">
              <a:buFont typeface="Arial" pitchFamily="34" charset="0"/>
              <a:buChar char="•"/>
            </a:pPr>
            <a:r>
              <a:rPr lang="th-TH" sz="1600" dirty="0" smtClean="0">
                <a:latin typeface="Cordia New" pitchFamily="34" charset="-34"/>
                <a:cs typeface="Cordia New" pitchFamily="34" charset="-34"/>
              </a:rPr>
              <a:t>ชำระค่าโดยสารเต็มอัตราสำหรับการเปลี่ยนรถไฟฟ้าภายในระบบราง ครั้งต่อไป</a:t>
            </a:r>
            <a:endParaRPr lang="th-TH" sz="1600" b="1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6" name="Rectangle 195"/>
          <p:cNvSpPr/>
          <p:nvPr/>
        </p:nvSpPr>
        <p:spPr bwMode="auto">
          <a:xfrm>
            <a:off x="6804251" y="3717033"/>
            <a:ext cx="2192685" cy="114860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marL="177800" indent="-177800">
              <a:buFont typeface="Arial" pitchFamily="34" charset="0"/>
              <a:buChar char="•"/>
            </a:pPr>
            <a:r>
              <a:rPr lang="th-TH" sz="1600" dirty="0" smtClean="0">
                <a:latin typeface="Cordia New" pitchFamily="34" charset="-34"/>
                <a:cs typeface="Cordia New" pitchFamily="34" charset="-34"/>
              </a:rPr>
              <a:t>ยกเว้นค่าโดยสารสำหรับการเดินทางโดยรถโดยสารประจำทาง </a:t>
            </a:r>
            <a:r>
              <a:rPr lang="en-US" sz="1600" dirty="0" smtClean="0">
                <a:latin typeface="Cordia New" pitchFamily="34" charset="-34"/>
                <a:cs typeface="Cordia New" pitchFamily="34" charset="-34"/>
              </a:rPr>
              <a:t>[2] </a:t>
            </a:r>
            <a:r>
              <a:rPr lang="th-TH" sz="1600" dirty="0" smtClean="0">
                <a:latin typeface="Cordia New" pitchFamily="34" charset="-34"/>
                <a:cs typeface="Cordia New" pitchFamily="34" charset="-34"/>
              </a:rPr>
              <a:t>เที่ยวถัดไป หลังจากระบบราง</a:t>
            </a:r>
            <a:endParaRPr lang="en-US" sz="16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7" name="Rectangle 196"/>
          <p:cNvSpPr/>
          <p:nvPr>
            <p:custDataLst>
              <p:tags r:id="rId41"/>
            </p:custDataLst>
          </p:nvPr>
        </p:nvSpPr>
        <p:spPr bwMode="auto">
          <a:xfrm>
            <a:off x="1507981" y="5088713"/>
            <a:ext cx="4480207" cy="1148605"/>
          </a:xfrm>
          <a:prstGeom prst="rect">
            <a:avLst/>
          </a:prstGeom>
          <a:solidFill>
            <a:schemeClr val="accent3">
              <a:lumMod val="20000"/>
              <a:lumOff val="80000"/>
              <a:alpha val="96863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8" name="Oval 197"/>
          <p:cNvSpPr/>
          <p:nvPr>
            <p:custDataLst>
              <p:tags r:id="rId42"/>
            </p:custDataLst>
          </p:nvPr>
        </p:nvSpPr>
        <p:spPr bwMode="auto">
          <a:xfrm>
            <a:off x="2367495" y="5744232"/>
            <a:ext cx="349412" cy="32454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Bus1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199" name="Oval 198"/>
          <p:cNvSpPr/>
          <p:nvPr>
            <p:custDataLst>
              <p:tags r:id="rId43"/>
            </p:custDataLst>
          </p:nvPr>
        </p:nvSpPr>
        <p:spPr bwMode="auto">
          <a:xfrm>
            <a:off x="3352965" y="5744232"/>
            <a:ext cx="349412" cy="32454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solidFill>
                  <a:srgbClr val="003300"/>
                </a:solidFill>
                <a:latin typeface="Cordia New" pitchFamily="34" charset="-34"/>
                <a:cs typeface="Cordia New" pitchFamily="34" charset="-34"/>
              </a:rPr>
              <a:t>Ferry1</a:t>
            </a:r>
            <a:endParaRPr lang="th-TH" sz="1400" b="1" dirty="0">
              <a:solidFill>
                <a:srgbClr val="003300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00" name="Oval 199"/>
          <p:cNvSpPr/>
          <p:nvPr>
            <p:custDataLst>
              <p:tags r:id="rId44"/>
            </p:custDataLst>
          </p:nvPr>
        </p:nvSpPr>
        <p:spPr bwMode="auto">
          <a:xfrm>
            <a:off x="4338435" y="5744232"/>
            <a:ext cx="349412" cy="32454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Bus2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01" name="Oval 200"/>
          <p:cNvSpPr/>
          <p:nvPr>
            <p:custDataLst>
              <p:tags r:id="rId45"/>
            </p:custDataLst>
          </p:nvPr>
        </p:nvSpPr>
        <p:spPr bwMode="auto">
          <a:xfrm>
            <a:off x="5323905" y="5744232"/>
            <a:ext cx="349412" cy="32454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b="1" dirty="0" smtClean="0">
                <a:latin typeface="Cordia New" pitchFamily="34" charset="-34"/>
                <a:cs typeface="Cordia New" pitchFamily="34" charset="-34"/>
              </a:rPr>
              <a:t>Bus3</a:t>
            </a:r>
            <a:endParaRPr lang="th-TH" sz="1400" b="1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02" name="Curved Connector 201"/>
          <p:cNvCxnSpPr>
            <a:stCxn id="198" idx="0"/>
            <a:endCxn id="199" idx="0"/>
          </p:cNvCxnSpPr>
          <p:nvPr>
            <p:custDataLst>
              <p:tags r:id="rId46"/>
            </p:custDataLst>
          </p:nvPr>
        </p:nvCxnSpPr>
        <p:spPr bwMode="auto">
          <a:xfrm rot="5400000" flipH="1" flipV="1">
            <a:off x="3034902" y="5251500"/>
            <a:ext cx="11728" cy="985470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03" name="Curved Connector 202"/>
          <p:cNvCxnSpPr>
            <a:stCxn id="199" idx="0"/>
            <a:endCxn id="200" idx="0"/>
          </p:cNvCxnSpPr>
          <p:nvPr>
            <p:custDataLst>
              <p:tags r:id="rId47"/>
            </p:custDataLst>
          </p:nvPr>
        </p:nvCxnSpPr>
        <p:spPr bwMode="auto">
          <a:xfrm rot="5400000" flipH="1" flipV="1">
            <a:off x="4020372" y="5251500"/>
            <a:ext cx="11728" cy="985470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04" name="Curved Connector 203"/>
          <p:cNvCxnSpPr>
            <a:stCxn id="200" idx="0"/>
            <a:endCxn id="201" idx="0"/>
          </p:cNvCxnSpPr>
          <p:nvPr>
            <p:custDataLst>
              <p:tags r:id="rId48"/>
            </p:custDataLst>
          </p:nvPr>
        </p:nvCxnSpPr>
        <p:spPr bwMode="auto">
          <a:xfrm rot="5400000" flipH="1" flipV="1">
            <a:off x="5005842" y="5251500"/>
            <a:ext cx="11728" cy="985470"/>
          </a:xfrm>
          <a:prstGeom prst="curvedConnector3">
            <a:avLst>
              <a:gd name="adj1" fmla="val 180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sp>
        <p:nvSpPr>
          <p:cNvPr id="205" name="Oval 204"/>
          <p:cNvSpPr/>
          <p:nvPr>
            <p:custDataLst>
              <p:tags r:id="rId49"/>
            </p:custDataLst>
          </p:nvPr>
        </p:nvSpPr>
        <p:spPr bwMode="auto">
          <a:xfrm>
            <a:off x="2454713" y="5206382"/>
            <a:ext cx="349412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>
                <a:latin typeface="Cordia New" pitchFamily="34" charset="-34"/>
                <a:cs typeface="Cordia New" pitchFamily="34" charset="-34"/>
              </a:rPr>
              <a:t>เต็มอัตรา</a:t>
            </a:r>
            <a:endParaRPr lang="th-TH" sz="1600" b="1" i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06" name="Oval 205"/>
          <p:cNvSpPr/>
          <p:nvPr>
            <p:custDataLst>
              <p:tags r:id="rId50"/>
            </p:custDataLst>
          </p:nvPr>
        </p:nvSpPr>
        <p:spPr bwMode="auto">
          <a:xfrm>
            <a:off x="3340411" y="5206382"/>
            <a:ext cx="349412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ได้รับยกเว้น</a:t>
            </a:r>
          </a:p>
        </p:txBody>
      </p:sp>
      <p:sp>
        <p:nvSpPr>
          <p:cNvPr id="207" name="Oval 206"/>
          <p:cNvSpPr/>
          <p:nvPr>
            <p:custDataLst>
              <p:tags r:id="rId51"/>
            </p:custDataLst>
          </p:nvPr>
        </p:nvSpPr>
        <p:spPr bwMode="auto">
          <a:xfrm>
            <a:off x="4053725" y="5206382"/>
            <a:ext cx="906285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>
                <a:solidFill>
                  <a:srgbClr val="C00000"/>
                </a:solidFill>
                <a:latin typeface="Cordia New" pitchFamily="34" charset="-34"/>
                <a:cs typeface="Cordia New" pitchFamily="34" charset="-34"/>
              </a:rPr>
              <a:t>ได้รับยกเว้น</a:t>
            </a:r>
          </a:p>
        </p:txBody>
      </p:sp>
      <p:sp>
        <p:nvSpPr>
          <p:cNvPr id="208" name="Oval 207"/>
          <p:cNvSpPr/>
          <p:nvPr>
            <p:custDataLst>
              <p:tags r:id="rId52"/>
            </p:custDataLst>
          </p:nvPr>
        </p:nvSpPr>
        <p:spPr bwMode="auto">
          <a:xfrm>
            <a:off x="5342735" y="5206382"/>
            <a:ext cx="349412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>
                <a:latin typeface="Cordia New" pitchFamily="34" charset="-34"/>
                <a:cs typeface="Cordia New" pitchFamily="34" charset="-34"/>
              </a:rPr>
              <a:t>เต็มอัตรา</a:t>
            </a:r>
            <a:endParaRPr lang="th-TH" sz="1600" b="1" i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09" name="Pentagon 208"/>
          <p:cNvSpPr/>
          <p:nvPr/>
        </p:nvSpPr>
        <p:spPr bwMode="auto">
          <a:xfrm>
            <a:off x="344697" y="5344114"/>
            <a:ext cx="1118461" cy="486800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20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กรณีที่ </a:t>
            </a:r>
            <a:r>
              <a:rPr lang="en-US" sz="2000" b="1" dirty="0" smtClean="0">
                <a:solidFill>
                  <a:schemeClr val="bg1"/>
                </a:solidFill>
                <a:latin typeface="Cordia New" pitchFamily="34" charset="-34"/>
                <a:cs typeface="Cordia New" pitchFamily="34" charset="-34"/>
              </a:rPr>
              <a:t>4</a:t>
            </a:r>
            <a:endParaRPr lang="th-TH" sz="2000" b="1" dirty="0" smtClean="0">
              <a:solidFill>
                <a:schemeClr val="bg1"/>
              </a:solidFill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10" name="Rectangle 209"/>
          <p:cNvSpPr/>
          <p:nvPr/>
        </p:nvSpPr>
        <p:spPr bwMode="auto">
          <a:xfrm>
            <a:off x="6060186" y="5088712"/>
            <a:ext cx="2928489" cy="11486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marL="177800" indent="-177800">
              <a:buFont typeface="Arial" pitchFamily="34" charset="0"/>
              <a:buChar char="•"/>
            </a:pPr>
            <a:r>
              <a:rPr lang="th-TH" sz="1600" dirty="0" smtClean="0">
                <a:latin typeface="Cordia New" pitchFamily="34" charset="-34"/>
                <a:cs typeface="Cordia New" pitchFamily="34" charset="-34"/>
              </a:rPr>
              <a:t>ยกเว้นค่าโดยสารสำหรับการเดินทางโดยเรือด้วยบัตรโดยสารร่วม</a:t>
            </a:r>
            <a:endParaRPr lang="en-US" sz="1600" dirty="0" smtClean="0">
              <a:latin typeface="Cordia New" pitchFamily="34" charset="-34"/>
              <a:cs typeface="Cordia New" pitchFamily="34" charset="-34"/>
            </a:endParaRPr>
          </a:p>
          <a:p>
            <a:pPr marL="177800" indent="-177800">
              <a:buFont typeface="Arial" pitchFamily="34" charset="0"/>
              <a:buChar char="•"/>
            </a:pPr>
            <a:r>
              <a:rPr lang="th-TH" sz="1600" dirty="0" smtClean="0">
                <a:latin typeface="Cordia New" pitchFamily="34" charset="-34"/>
                <a:cs typeface="Cordia New" pitchFamily="34" charset="-34"/>
              </a:rPr>
              <a:t>การเดินทางโดยเรือถือเป็นการเดินทางโดยรถโดยสารประจำทาง</a:t>
            </a:r>
            <a:endParaRPr lang="en-US" sz="1600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11" name="Straight Connector 210"/>
          <p:cNvCxnSpPr/>
          <p:nvPr/>
        </p:nvCxnSpPr>
        <p:spPr bwMode="auto">
          <a:xfrm>
            <a:off x="5004048" y="1196752"/>
            <a:ext cx="0" cy="78399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2" name="Oval 211"/>
          <p:cNvSpPr/>
          <p:nvPr>
            <p:custDataLst>
              <p:tags r:id="rId53"/>
            </p:custDataLst>
          </p:nvPr>
        </p:nvSpPr>
        <p:spPr bwMode="auto">
          <a:xfrm>
            <a:off x="6084168" y="4365104"/>
            <a:ext cx="349412" cy="324540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en-US" sz="1400" dirty="0" smtClean="0">
                <a:latin typeface="Cordia New" pitchFamily="34" charset="-34"/>
                <a:cs typeface="Cordia New" pitchFamily="34" charset="-34"/>
              </a:rPr>
              <a:t>Bus3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13" name="Curved Connector 212"/>
          <p:cNvCxnSpPr>
            <a:stCxn id="183" idx="0"/>
            <a:endCxn id="212" idx="0"/>
          </p:cNvCxnSpPr>
          <p:nvPr>
            <p:custDataLst>
              <p:tags r:id="rId54"/>
            </p:custDataLst>
          </p:nvPr>
        </p:nvCxnSpPr>
        <p:spPr bwMode="auto">
          <a:xfrm rot="5400000" flipH="1" flipV="1">
            <a:off x="5879150" y="3992833"/>
            <a:ext cx="7453" cy="752002"/>
          </a:xfrm>
          <a:prstGeom prst="curvedConnector3">
            <a:avLst>
              <a:gd name="adj1" fmla="val 316722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</p:spPr>
      </p:cxnSp>
      <p:sp>
        <p:nvSpPr>
          <p:cNvPr id="214" name="Oval 213"/>
          <p:cNvSpPr/>
          <p:nvPr>
            <p:custDataLst>
              <p:tags r:id="rId55"/>
            </p:custDataLst>
          </p:nvPr>
        </p:nvSpPr>
        <p:spPr bwMode="auto">
          <a:xfrm>
            <a:off x="5850661" y="3789040"/>
            <a:ext cx="816426" cy="32454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>
              <a:lnSpc>
                <a:spcPts val="1700"/>
              </a:lnSpc>
            </a:pPr>
            <a:r>
              <a:rPr lang="th-TH" sz="1400" b="1" i="1" dirty="0">
                <a:latin typeface="Cordia New" pitchFamily="34" charset="-34"/>
                <a:cs typeface="Cordia New" pitchFamily="34" charset="-34"/>
              </a:rPr>
              <a:t>เต็มอัตรา</a:t>
            </a:r>
            <a:endParaRPr lang="th-TH" sz="1600" b="1" i="1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15" name="TextBox 214"/>
          <p:cNvSpPr txBox="1"/>
          <p:nvPr/>
        </p:nvSpPr>
        <p:spPr>
          <a:xfrm>
            <a:off x="2729746" y="1460018"/>
            <a:ext cx="624548" cy="2407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100" dirty="0">
                <a:latin typeface="Cordia New" pitchFamily="34" charset="-34"/>
                <a:cs typeface="Cordia New" pitchFamily="34" charset="-34"/>
              </a:rPr>
              <a:t>ภายใน </a:t>
            </a:r>
            <a:r>
              <a:rPr lang="en-US" sz="1100" dirty="0">
                <a:latin typeface="Cordia New" pitchFamily="34" charset="-34"/>
                <a:cs typeface="Cordia New" pitchFamily="34" charset="-34"/>
              </a:rPr>
              <a:t>30 </a:t>
            </a:r>
            <a:r>
              <a:rPr lang="th-TH" sz="1100" dirty="0">
                <a:latin typeface="Cordia New" pitchFamily="34" charset="-34"/>
                <a:cs typeface="Cordia New" pitchFamily="34" charset="-34"/>
              </a:rPr>
              <a:t>นาที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16" name="TextBox 215"/>
          <p:cNvSpPr txBox="1"/>
          <p:nvPr/>
        </p:nvSpPr>
        <p:spPr>
          <a:xfrm>
            <a:off x="3649544" y="1460018"/>
            <a:ext cx="624548" cy="2407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100" dirty="0">
                <a:latin typeface="Cordia New" pitchFamily="34" charset="-34"/>
                <a:cs typeface="Cordia New" pitchFamily="34" charset="-34"/>
              </a:rPr>
              <a:t>ภายใน </a:t>
            </a:r>
            <a:r>
              <a:rPr lang="en-US" sz="1100" dirty="0">
                <a:latin typeface="Cordia New" pitchFamily="34" charset="-34"/>
                <a:cs typeface="Cordia New" pitchFamily="34" charset="-34"/>
              </a:rPr>
              <a:t>30 </a:t>
            </a:r>
            <a:r>
              <a:rPr lang="th-TH" sz="1100" dirty="0">
                <a:latin typeface="Cordia New" pitchFamily="34" charset="-34"/>
                <a:cs typeface="Cordia New" pitchFamily="34" charset="-34"/>
              </a:rPr>
              <a:t>นาที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17" name="TextBox 216"/>
          <p:cNvSpPr txBox="1"/>
          <p:nvPr/>
        </p:nvSpPr>
        <p:spPr>
          <a:xfrm>
            <a:off x="4667532" y="1460018"/>
            <a:ext cx="624548" cy="2407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100" dirty="0">
                <a:latin typeface="Cordia New" pitchFamily="34" charset="-34"/>
                <a:cs typeface="Cordia New" pitchFamily="34" charset="-34"/>
              </a:rPr>
              <a:t>ภายใน </a:t>
            </a:r>
            <a:r>
              <a:rPr lang="en-US" sz="1100" dirty="0">
                <a:latin typeface="Cordia New" pitchFamily="34" charset="-34"/>
                <a:cs typeface="Cordia New" pitchFamily="34" charset="-34"/>
              </a:rPr>
              <a:t>30 </a:t>
            </a:r>
            <a:r>
              <a:rPr lang="th-TH" sz="1100" dirty="0">
                <a:latin typeface="Cordia New" pitchFamily="34" charset="-34"/>
                <a:cs typeface="Cordia New" pitchFamily="34" charset="-34"/>
              </a:rPr>
              <a:t>นาที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18" name="TextBox 217"/>
          <p:cNvSpPr txBox="1"/>
          <p:nvPr/>
        </p:nvSpPr>
        <p:spPr>
          <a:xfrm>
            <a:off x="4716016" y="2828170"/>
            <a:ext cx="624548" cy="2407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100" dirty="0">
                <a:latin typeface="Cordia New" pitchFamily="34" charset="-34"/>
                <a:cs typeface="Cordia New" pitchFamily="34" charset="-34"/>
              </a:rPr>
              <a:t>ภายใน </a:t>
            </a:r>
            <a:r>
              <a:rPr lang="en-US" sz="1100" dirty="0">
                <a:latin typeface="Cordia New" pitchFamily="34" charset="-34"/>
                <a:cs typeface="Cordia New" pitchFamily="34" charset="-34"/>
              </a:rPr>
              <a:t>30 </a:t>
            </a:r>
            <a:r>
              <a:rPr lang="th-TH" sz="1100" dirty="0">
                <a:latin typeface="Cordia New" pitchFamily="34" charset="-34"/>
                <a:cs typeface="Cordia New" pitchFamily="34" charset="-34"/>
              </a:rPr>
              <a:t>นาที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19" name="TextBox 218"/>
          <p:cNvSpPr txBox="1"/>
          <p:nvPr/>
        </p:nvSpPr>
        <p:spPr>
          <a:xfrm>
            <a:off x="3707904" y="2828170"/>
            <a:ext cx="624548" cy="2407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100" dirty="0">
                <a:latin typeface="Cordia New" pitchFamily="34" charset="-34"/>
                <a:cs typeface="Cordia New" pitchFamily="34" charset="-34"/>
              </a:rPr>
              <a:t>ภายใน </a:t>
            </a:r>
            <a:r>
              <a:rPr lang="en-US" sz="1100" dirty="0">
                <a:latin typeface="Cordia New" pitchFamily="34" charset="-34"/>
                <a:cs typeface="Cordia New" pitchFamily="34" charset="-34"/>
              </a:rPr>
              <a:t>30 </a:t>
            </a:r>
            <a:r>
              <a:rPr lang="th-TH" sz="1100" dirty="0">
                <a:latin typeface="Cordia New" pitchFamily="34" charset="-34"/>
                <a:cs typeface="Cordia New" pitchFamily="34" charset="-34"/>
              </a:rPr>
              <a:t>นาที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20" name="TextBox 219"/>
          <p:cNvSpPr txBox="1"/>
          <p:nvPr/>
        </p:nvSpPr>
        <p:spPr>
          <a:xfrm>
            <a:off x="2723316" y="2828170"/>
            <a:ext cx="624548" cy="2407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100" dirty="0">
                <a:latin typeface="Cordia New" pitchFamily="34" charset="-34"/>
                <a:cs typeface="Cordia New" pitchFamily="34" charset="-34"/>
              </a:rPr>
              <a:t>ภายใน </a:t>
            </a:r>
            <a:r>
              <a:rPr lang="en-US" sz="1100" dirty="0">
                <a:latin typeface="Cordia New" pitchFamily="34" charset="-34"/>
                <a:cs typeface="Cordia New" pitchFamily="34" charset="-34"/>
              </a:rPr>
              <a:t>30 </a:t>
            </a:r>
            <a:r>
              <a:rPr lang="th-TH" sz="1100" dirty="0">
                <a:latin typeface="Cordia New" pitchFamily="34" charset="-34"/>
                <a:cs typeface="Cordia New" pitchFamily="34" charset="-34"/>
              </a:rPr>
              <a:t>นาที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21" name="TextBox 220"/>
          <p:cNvSpPr txBox="1"/>
          <p:nvPr/>
        </p:nvSpPr>
        <p:spPr>
          <a:xfrm>
            <a:off x="4692492" y="4196322"/>
            <a:ext cx="624548" cy="2407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100" dirty="0">
                <a:latin typeface="Cordia New" pitchFamily="34" charset="-34"/>
                <a:cs typeface="Cordia New" pitchFamily="34" charset="-34"/>
              </a:rPr>
              <a:t>ภายใน </a:t>
            </a:r>
            <a:r>
              <a:rPr lang="en-US" sz="1100" dirty="0">
                <a:latin typeface="Cordia New" pitchFamily="34" charset="-34"/>
                <a:cs typeface="Cordia New" pitchFamily="34" charset="-34"/>
              </a:rPr>
              <a:t>30 </a:t>
            </a:r>
            <a:r>
              <a:rPr lang="th-TH" sz="1100" dirty="0">
                <a:latin typeface="Cordia New" pitchFamily="34" charset="-34"/>
                <a:cs typeface="Cordia New" pitchFamily="34" charset="-34"/>
              </a:rPr>
              <a:t>นาที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22" name="TextBox 221"/>
          <p:cNvSpPr txBox="1"/>
          <p:nvPr/>
        </p:nvSpPr>
        <p:spPr>
          <a:xfrm>
            <a:off x="3684380" y="4196322"/>
            <a:ext cx="624548" cy="2407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100" dirty="0">
                <a:latin typeface="Cordia New" pitchFamily="34" charset="-34"/>
                <a:cs typeface="Cordia New" pitchFamily="34" charset="-34"/>
              </a:rPr>
              <a:t>ภายใน </a:t>
            </a:r>
            <a:r>
              <a:rPr lang="en-US" sz="1100" dirty="0">
                <a:latin typeface="Cordia New" pitchFamily="34" charset="-34"/>
                <a:cs typeface="Cordia New" pitchFamily="34" charset="-34"/>
              </a:rPr>
              <a:t>30 </a:t>
            </a:r>
            <a:r>
              <a:rPr lang="th-TH" sz="1100" dirty="0">
                <a:latin typeface="Cordia New" pitchFamily="34" charset="-34"/>
                <a:cs typeface="Cordia New" pitchFamily="34" charset="-34"/>
              </a:rPr>
              <a:t>นาที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23" name="TextBox 222"/>
          <p:cNvSpPr txBox="1"/>
          <p:nvPr/>
        </p:nvSpPr>
        <p:spPr>
          <a:xfrm>
            <a:off x="2699792" y="4196322"/>
            <a:ext cx="624548" cy="2407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100" b="0" dirty="0" smtClean="0">
                <a:latin typeface="Cordia New" pitchFamily="34" charset="-34"/>
                <a:cs typeface="Cordia New" pitchFamily="34" charset="-34"/>
              </a:rPr>
              <a:t>ภายใน </a:t>
            </a:r>
            <a:r>
              <a:rPr lang="en-US" sz="1100" b="0" dirty="0" smtClean="0">
                <a:latin typeface="Cordia New" pitchFamily="34" charset="-34"/>
                <a:cs typeface="Cordia New" pitchFamily="34" charset="-34"/>
              </a:rPr>
              <a:t>30 </a:t>
            </a:r>
            <a:r>
              <a:rPr lang="th-TH" sz="1100" b="0" dirty="0" smtClean="0">
                <a:latin typeface="Cordia New" pitchFamily="34" charset="-34"/>
                <a:cs typeface="Cordia New" pitchFamily="34" charset="-34"/>
              </a:rPr>
              <a:t>นาที</a:t>
            </a:r>
            <a:endParaRPr lang="th-TH" sz="1400" b="0" dirty="0" smtClean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24" name="Straight Connector 223"/>
          <p:cNvCxnSpPr/>
          <p:nvPr/>
        </p:nvCxnSpPr>
        <p:spPr bwMode="auto">
          <a:xfrm>
            <a:off x="5004048" y="2573002"/>
            <a:ext cx="0" cy="78399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5" name="Straight Connector 224"/>
          <p:cNvCxnSpPr/>
          <p:nvPr/>
        </p:nvCxnSpPr>
        <p:spPr bwMode="auto">
          <a:xfrm>
            <a:off x="5868144" y="3949252"/>
            <a:ext cx="0" cy="78399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6" name="Straight Connector 225"/>
          <p:cNvCxnSpPr/>
          <p:nvPr/>
        </p:nvCxnSpPr>
        <p:spPr bwMode="auto">
          <a:xfrm>
            <a:off x="4932040" y="5301208"/>
            <a:ext cx="0" cy="78399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7" name="TextBox 226"/>
          <p:cNvSpPr txBox="1"/>
          <p:nvPr/>
        </p:nvSpPr>
        <p:spPr>
          <a:xfrm>
            <a:off x="3635896" y="5589240"/>
            <a:ext cx="624548" cy="2407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100" dirty="0">
                <a:latin typeface="Cordia New" pitchFamily="34" charset="-34"/>
                <a:cs typeface="Cordia New" pitchFamily="34" charset="-34"/>
              </a:rPr>
              <a:t>ภายใน </a:t>
            </a:r>
            <a:r>
              <a:rPr lang="en-US" sz="1100" dirty="0">
                <a:latin typeface="Cordia New" pitchFamily="34" charset="-34"/>
                <a:cs typeface="Cordia New" pitchFamily="34" charset="-34"/>
              </a:rPr>
              <a:t>30 </a:t>
            </a:r>
            <a:r>
              <a:rPr lang="th-TH" sz="1100" dirty="0">
                <a:latin typeface="Cordia New" pitchFamily="34" charset="-34"/>
                <a:cs typeface="Cordia New" pitchFamily="34" charset="-34"/>
              </a:rPr>
              <a:t>นาที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28" name="TextBox 227"/>
          <p:cNvSpPr txBox="1"/>
          <p:nvPr/>
        </p:nvSpPr>
        <p:spPr>
          <a:xfrm>
            <a:off x="2627784" y="5636482"/>
            <a:ext cx="624548" cy="2407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th-TH" sz="1100" dirty="0">
                <a:latin typeface="Cordia New" pitchFamily="34" charset="-34"/>
                <a:cs typeface="Cordia New" pitchFamily="34" charset="-34"/>
              </a:rPr>
              <a:t>ภายใน </a:t>
            </a:r>
            <a:r>
              <a:rPr lang="en-US" sz="1100" dirty="0">
                <a:latin typeface="Cordia New" pitchFamily="34" charset="-34"/>
                <a:cs typeface="Cordia New" pitchFamily="34" charset="-34"/>
              </a:rPr>
              <a:t>30 </a:t>
            </a:r>
            <a:r>
              <a:rPr lang="th-TH" sz="1100" dirty="0">
                <a:latin typeface="Cordia New" pitchFamily="34" charset="-34"/>
                <a:cs typeface="Cordia New" pitchFamily="34" charset="-34"/>
              </a:rPr>
              <a:t>นาที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29" name="Rectangle 228"/>
          <p:cNvSpPr/>
          <p:nvPr/>
        </p:nvSpPr>
        <p:spPr bwMode="auto">
          <a:xfrm>
            <a:off x="1573271" y="2492522"/>
            <a:ext cx="694476" cy="332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latin typeface="Cordia New" pitchFamily="34" charset="-34"/>
                <a:cs typeface="Cordia New" pitchFamily="34" charset="-34"/>
              </a:rPr>
              <a:t>อัตราใหม่</a:t>
            </a:r>
            <a:endParaRPr lang="th-TH" sz="14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30" name="Rectangle 229"/>
          <p:cNvSpPr/>
          <p:nvPr/>
        </p:nvSpPr>
        <p:spPr bwMode="auto">
          <a:xfrm>
            <a:off x="1573271" y="3024507"/>
            <a:ext cx="694476" cy="332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latin typeface="Cordia New" pitchFamily="34" charset="-34"/>
                <a:cs typeface="Cordia New" pitchFamily="34" charset="-34"/>
              </a:rPr>
              <a:t>ระบบ</a:t>
            </a:r>
            <a:endParaRPr lang="th-TH" sz="14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31" name="Rectangle 230"/>
          <p:cNvSpPr/>
          <p:nvPr/>
        </p:nvSpPr>
        <p:spPr bwMode="auto">
          <a:xfrm>
            <a:off x="1573271" y="3847023"/>
            <a:ext cx="694476" cy="332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latin typeface="Cordia New" pitchFamily="34" charset="-34"/>
                <a:cs typeface="Cordia New" pitchFamily="34" charset="-34"/>
              </a:rPr>
              <a:t>อัตราใหม่</a:t>
            </a:r>
            <a:endParaRPr lang="th-TH" sz="14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32" name="Rectangle 231"/>
          <p:cNvSpPr/>
          <p:nvPr/>
        </p:nvSpPr>
        <p:spPr bwMode="auto">
          <a:xfrm>
            <a:off x="1573271" y="4379011"/>
            <a:ext cx="694476" cy="332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latin typeface="Cordia New" pitchFamily="34" charset="-34"/>
                <a:cs typeface="Cordia New" pitchFamily="34" charset="-34"/>
              </a:rPr>
              <a:t>ระบบ</a:t>
            </a:r>
            <a:endParaRPr lang="th-TH" sz="14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33" name="Rectangle 232"/>
          <p:cNvSpPr/>
          <p:nvPr/>
        </p:nvSpPr>
        <p:spPr bwMode="auto">
          <a:xfrm>
            <a:off x="1573271" y="5228826"/>
            <a:ext cx="694476" cy="332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latin typeface="Cordia New" pitchFamily="34" charset="-34"/>
                <a:cs typeface="Cordia New" pitchFamily="34" charset="-34"/>
              </a:rPr>
              <a:t>อัตราใหม่</a:t>
            </a:r>
            <a:endParaRPr lang="th-TH" sz="1400" b="0" dirty="0" smtClean="0"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234" name="Rectangle 233"/>
          <p:cNvSpPr/>
          <p:nvPr/>
        </p:nvSpPr>
        <p:spPr bwMode="auto">
          <a:xfrm>
            <a:off x="1573271" y="5760811"/>
            <a:ext cx="694476" cy="3324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/>
          <a:lstStyle/>
          <a:p>
            <a:pPr algn="ctr"/>
            <a:r>
              <a:rPr lang="th-TH" sz="1400" dirty="0" smtClean="0">
                <a:latin typeface="Cordia New" pitchFamily="34" charset="-34"/>
                <a:cs typeface="Cordia New" pitchFamily="34" charset="-34"/>
              </a:rPr>
              <a:t>ระบบ</a:t>
            </a:r>
            <a:endParaRPr lang="th-TH" sz="1400" b="0" dirty="0" smtClean="0">
              <a:latin typeface="Cordia New" pitchFamily="34" charset="-34"/>
              <a:cs typeface="Cordia New" pitchFamily="34" charset="-34"/>
            </a:endParaRPr>
          </a:p>
        </p:txBody>
      </p:sp>
      <p:cxnSp>
        <p:nvCxnSpPr>
          <p:cNvPr id="235" name="Straight Connector 234"/>
          <p:cNvCxnSpPr/>
          <p:nvPr/>
        </p:nvCxnSpPr>
        <p:spPr bwMode="auto">
          <a:xfrm>
            <a:off x="2519458" y="2105560"/>
            <a:ext cx="199418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6" name="TextBox 235"/>
          <p:cNvSpPr txBox="1"/>
          <p:nvPr/>
        </p:nvSpPr>
        <p:spPr>
          <a:xfrm>
            <a:off x="3347867" y="1999785"/>
            <a:ext cx="387795" cy="21890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noAutofit/>
          </a:bodyPr>
          <a:lstStyle/>
          <a:p>
            <a:r>
              <a:rPr lang="en-US" sz="1100" dirty="0" smtClean="0">
                <a:latin typeface="Cordia New" pitchFamily="34" charset="-34"/>
                <a:cs typeface="Cordia New" pitchFamily="34" charset="-34"/>
              </a:rPr>
              <a:t>[20] km</a:t>
            </a:r>
            <a:endParaRPr lang="th-TH" sz="1400" dirty="0">
              <a:latin typeface="Cordia New" pitchFamily="34" charset="-34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177029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4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40a2_jkEysWP5hfeYM7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bTe29H90uvFAkChHwZ.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fLAIB.TU.FIKRE4AeWH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40a2_jkEysWP5hfeYM7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k2msqFTEqkqec4KsO7X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7.AU47tU.w8_JftzzWU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Vo6RK1kUafvNq6tWpM8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xTS_Pj3EebUbhFSc4Ad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c9tOX0c0uuZUGVykGyp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zYXavB0SlyS9CyyR6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k2msqFTEqkqec4KsO7X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XnrCLYwUup_QwFqpkGm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dwLE0ckECyCInjqj615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q49Arq5EyqhIx3ixYlf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cp_zzdLE.VwhSkbvc0o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fEjH_xUGXVPEW1aAfD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e2wuZD4kKH_K7rR4GVh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6Q3APmEkm9CTsemFs0E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mWyDMuskejFV3XVKgK7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XkGdou0qlVagMtSUj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7.AU47tU.w8_JftzzWU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tsDr5ejEGV6459xj11v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UCx8vUhkqIRKQ.eFuO8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ASXNamCEa4YpFJZeWrv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Aa6fRZekKkxLX1gaPj2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jVLS730EOPuArXzDLlE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mh5Fjrt0Wl9KZPa5jKH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xMcr0.v0yEnkmtMR9YU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.EEhXptk.C7033W5mZy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RJnSmMjUi6FB1HctG_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dZuFjkz0q2vP4Dbra2s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g9G_9EuUKjzRwvk8OKS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onO7VaG0iii.5SlNYoV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B_StFHJ069FErI5glXj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5g7KW5Ei11.qFmWOgo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YofVQFqk2OJxWAdPIkx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VQweth3EmAOqjKwHP.9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Vo6RK1kUafvNq6tWpM8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TIzin9v0u3DIG7UlCoE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d197mGwkSUKnfUE0cj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.UoRnC20KDwOmxi7zth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VmqAMUV0qHHyrYbIUmC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FG4GEPSkSRPi4QCejsS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bTe29H90uvFAkChHwZ.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fLAIB.TU.FIKRE4AeWH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40a2_jkEysWP5hfeYM7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k2msqFTEqkqec4KsO7X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7.AU47tU.w8_JftzzW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xTS_Pj3EebUbhFSc4Ad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Vo6RK1kUafvNq6tWpM8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xTS_Pj3EebUbhFSc4Ad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c9tOX0c0uuZUGVykGyp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zYXavB0SlyS9CyyR6c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XnrCLYwUup_QwFqpkGm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dwLE0ckECyCInjqj615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q49Arq5EyqhIx3ixYlf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cp_zzdLE.VwhSkbvc0o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fEjH_xUGXVPEW1aAf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c9tOX0c0uuZUGVykGyp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e2wuZD4kKH_K7rR4GVh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6Q3APmEkm9CTsemFs0E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mWyDMuskejFV3XVKgK7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XkGdou0qlVagMtSUj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tsDr5ejEGV6459xj11v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UCx8vUhkqIRKQ.eFuO8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ASXNamCEa4YpFJZeWrv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Aa6fRZekKkxLX1gaPj2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jVLS730EOPuArXzDLl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zYXavB0SlyS9CyyR6c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mh5Fjrt0Wl9KZPa5jKH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xMcr0.v0yEnkmtMR9YU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.EEhXptk.C7033W5mZy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RJnSmMjUi6FB1HctG_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dZuFjkz0q2vP4Dbra2s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g9G_9EuUKjzRwvk8OKS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onO7VaG0iii.5SlNYoV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B_StFHJ069FErI5glX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XnrCLYwUup_QwFqpkGm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5g7KW5Ei11.qFmWOgo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YofVQFqk2OJxWAdPIkx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VQweth3EmAOqjKwHP.9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Y68I3XJk2iiDDXSIYDo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CNVrnhvESpx.dODs59V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lFvatlXU.TIu7oCC3aP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emZCxUjECPG3MHs.UAN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IYcEF5eUSXlXWPU1V4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dwLE0ckECyCInjqj615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AuMjqYnk.Lwn7GHU7tV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dRuBtqD0qvocQT.VJew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B3Aw5PPk6GvA_nd61P4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wUUnzVHk.r8rkWlRO5J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bdJRmGyUO.4ATt2SECW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vABcYsFE.CpmdRGvpkZ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vVbsM560id05ApW.CXC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XpDTuz5UihOZFyFBHog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UA_mis40Kcgb7Enxey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q49Arq5EyqhIx3ixYlf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ubNRY9NEi41gNbUJE2h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tOfWY.cUOmfF3JoMfIj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Lnt5NpRkmL646zoeJst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BeahBm6E.n1MvjEzxw3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V8ejt9KUuOpUixcLpjI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mAggz_bEaRjLnFhPSWG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8bkNkA_UudDvOTvDxje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j21etHBUWgnyw9.CV09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bg_QRoSUSgK_WtdVL7W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wIglHsMkS7c5_bWN0R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cp_zzdLE.VwhSkbvc0o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XwxlQIU0mITdP1iTkSF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xVm3igzkS7LNdv5lMbe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RmBS82i0GgTyPgojLz.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SgTAR8r0OmBLwVjujX1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sE7GlwNUuxk5rg21fEi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QFuMNUOUSQjezxnWlal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6ktH8JeEWfS5EscvTdr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L.CqVv40OmOzPsUEd91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TbbOYuX0urESGpS7bTR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fONdzz8USH2a3GvK.x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fEjH_xUGXVPEW1aAfD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8DpneIzUi2uas3xrej.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Tc4Y_Q0Uq8F_QaYIFex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xqxVpo06lK9XshZFSX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lASTGdjUijyU2vJWS8Y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KV7eTZ80i4xSEaDga8Q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bI3v9520OpfcXo2ptN2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esWRr7tke8ztYtMlVVC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yfcS2N1USmaXdLUvRqR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QESqkSkeurYUkhXwY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e2wuZD4kKH_K7rR4GVh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122JVcmk6zd8Px_WzLu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BSZorKE0WT7UwA91atQ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QX6BPvF0Ga7S1KkyONs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UP0mXj9UKCUFyuwXwZ_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M2kW2RZUKBrv39hL4qa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ZjqioS7E668EGrPbTbS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584VSZrES0UCQd.OM26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jnkowIDUiUNgfPnlH83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VO.LpnoUOXLO84P1ZWI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ZJJOleNUCwIo9Xv_HF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fdFRowTUW969VhsWZom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jXKWhUv0KxttoHZHl40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M676IPukaOoMYmeoQBd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xohgBKAEi_87EnrN0So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PRNp8.V0atAIoJHhAn0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zybv6RQ0mt5oahT7bI0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twlAZR1UqTLKgV6De8D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7zbdfStEWl2KY_5..ll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TfCISUwUKemiAN0wLeL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OMQ8W4VUCOODrAH0vD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6Q3APmEkm9CTsemFs0E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SgHKNfUiqCvgAVdg09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xEqkAqpkGGateWMmEKG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YUJ9os10yQYlcaGtvOS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jv8Wetk0eM0fOtbF7W4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n5PPRnK02qdMWlAgWCg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jNktJwMESFk00eNT02w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lDyJHvFUOHAogB_RLFV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eq4GmyH0afT6SdDFLo3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m9TvE4V0SV2Ld2aZgnM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6nPU3zcEGmROjKZe5U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mWyDMuskejFV3XVKgK7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.otcVqv0af2Fuzi.tIC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9IIW7_PkGssc5U3gptZ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5SYtc_kkebg1YAKpcWT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4gB.dHU0mdjfiOB.WQ.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yrztySzUOuSb2.t4W2T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KcC5hAKUKD3M4Y5Br9N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Q9NdUnmUWhIhdUfKDt_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RFWaOHNkOS4VFchgK4B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uHS2JvFE2g48L71..dz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FS9dQqEEqLQfDi6PHB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XkGdou0qlVagMtSUjx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nHAqZfeESTflUMIuaUh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lKtbrZ9EGlIQikNLQMB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of_tAX8kyxGBslkJNNC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F8DtBjgE66isBkO3Uv3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dFJkHGxUy9NqXzx6B15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UtQdAZwEyuZnbfFzXG7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nPtMxk0kmBQ_y8.YkFY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pPkq1VskGnhKpqNAzQB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6_ND4c206Qp1hfJQkBs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ldGa9AMUKNRC5aWOEf0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tsDr5ejEGV6459xj11v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oPHXExqkm8v5OYgUj8D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feFfguB0y6sdxlBomx6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1sJ6fKqkaFpbWVHOrt7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T7CWtwwkeCiXrJLDU.6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Co01eUk0KC0ZksLxe54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tficx9x0O1WyOAYdhi0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JYJ58hQk21RE09AW9Zj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NrIVjGz0WaeoY_bBoh2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KqZxYe20G1GVzGTyZOE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0fcB87g06edhEyjeoA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UCx8vUhkqIRKQ.eFuO8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KwOQ1tbUms7Njjvo._2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GemlnCDkWRReRHY0Npq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riiSrD2kuNk9ORl7b0J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LEYNPaaEav06PjU0otg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fLAIB.TU.FIKRE4AeWH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k2msqFTEqkqec4KsO7X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7.AU47tU.w8_JftzzWU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qaBH6WkKeI94W9gouP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osS.Z5CESxKdiHzrbfm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lHLxywJE6AXM6Og43l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TIzin9v0u3DIG7UlCo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ASXNamCEa4YpFJZeWrv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7D4YpcqU6.FjeH8syM7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WXZYBSvUOxA8Pfmz0qU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jiee0IeE6AHkEY9CRGS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GUhLK7QEy7MJpc8GpBd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W50aBN9kWsGse.vgfLi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vys5dAGEGP.k1rSeLUi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fLEIWHTUGX1hCmpGlG0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LLkij0G0GNiekDTFppT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49b0I3fU24HvZakU_fI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49b0I3fU24HvZakU_f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Aa6fRZekKkxLX1gaPj2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W50aBN9kWsGse.vgfLi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W50aBN9kWsGse.vgfLi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vys5dAGEGP.k1rSeLUi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8DpneIzUi2uas3xrej.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Tc4Y_Q0Uq8F_QaYIFex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xqxVpo06lK9XshZFSX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lASTGdjUijyU2vJWS8Y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G56bTFcUGRvWi2JFbNe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Oaqxe3K0S7gJNeGtpH2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7P8wMsmUuHzv5dwSnbb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jVLS730EOPuArXzDLlE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bjSEsBUEeMeXylhaxzZ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PFCYv4dESb2CXpALJVP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EhpGi6VUGdTQLDMpYWk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RHFyVMnEytkorKy_Fml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nZ6d3g1k6Ix6uyBRw90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6yoY9KXE27m8Rw2zWjZ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L8gPqE0WAoH0yypdvO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2hYMf8SEWgw_hnDjZC0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fJ8_HyuU.IvcvZ.5BiM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gnnKtPikqrFXghPfFH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mh5Fjrt0Wl9KZPa5jKH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GXwB5ILk.PEG7xdrHhy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ikoBaYQkarS0f0J98LB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0cP8uqxEWg6JIIFHKaL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tU.6iHa0yk1p.WO1z.7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Ls_hIpWkaijOgKd2TRL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s6ZvnBWkeA2ALQc9kEt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yELclED0auuRiC_gDfq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QVcoh5WEu3io_nxRMSh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iMXhWPkeSb7hF2ZZCI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vFKhvr30qCqfOj8Uvy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xMcr0.v0yEnkmtMR9YU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L7G5lGsUGSqArm9zobY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SShWYVPUmbMfqvM9UNa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TgtjCzL0CRx703Cfy67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Zr72bNwEOW8S8gCQo7r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yeACtksE2lxA7WZY4yC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fludYeu0Wst6kR9CbFV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1IxmFqF0iyDCNfOoi57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N2TLs_FEONFtQyhC4R4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N6e.3cSEOYCd2zrbpjz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GEG_5DRUqduHMlL69xS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tZpFp7GkiRuetb04GL.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JqfY9P0UOW5LhQf6oVb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zuSN5CgEqdRmnshIyW3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JNHPFGcE2JTdxukOYLf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cgog1hYEuqK6aaBJzzs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w7XqK3LUuF_BTZZewjM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r.NOri2Uip3eMWSGj6q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bM4c.vhkq5e3NOFLMGM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S6AN1.YUuB.46rGbue_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f6qWfLJkGCxn8594Hg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.EEhXptk.C7033W5mZy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.VGzMdDE6PRxXLA.lE5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CLpj.bokqMQH04oKzgJ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R.zRYjNkSa625zO4Uc4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JHdewEYUKyDyP4PaYkw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oJH3ur_E6KUF3qx1IMk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mYKU8tVEiiVhl1hVA9A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myxCPO8kaGJWv5qAIXW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bt4pvR2UCC6xeh3sGBi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7sqAZtk0m0Y48cZ1V7I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Bc88gs50S1LPtij5XCQ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RJnSmMjUi6FB1HctG_t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w.ENLrkky4K321Nd7aY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9WpbTyTk.EoL0QsCf13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2DeCwNmUO36AVFG7XsB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ACWgPyRkK.vM0r.qGwE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_yyhHfwkyqYBfjhIsba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8bT3QIk66h.ZyCm_lL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C29a3rPEmCphLt3qdcs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b9v40SCkGS0Kfc2ljNT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mCIUk.gU2j31MukDLFh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syETURZECwycHqzUpv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dZuFjkz0q2vP4Dbra2s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9RZsKcP0C9k5BYx.1re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aqnQ_RTE2FMO4pLzp6M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.o5yhwx0GjVR_FqF4IN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simxg.0y1198vHsh_I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fOT_ko.EKocY6meBaNN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n.zGeEPU.WT0UPkJc8t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LLxk8Z7kCkUvgAkibyJ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GavntP7UWjW3q49naon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hC9yfWMUW_T3ZdKThHb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PQwn.v6k.4aFx5Tx8Bm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sxQcBBA0edq5_ztiChn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fWE49jW02XhBkBKruHy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n1tpdt.kWHMCcuWhB1y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ttGjp.A0uRjZlcxhotl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5fFmTERkKDgA9JYsQgk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lba75ygUazLM3kjHFw_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W7EMnlPkiB9djgH2MFg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wGvpr5wUqAVlmv.UDmP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Y7BeAa_UCe.7AvDyEn9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mwnKzovkKedENbhony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d197mGwkSUKnfUE0cjT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YnpbhxKkqnQsSsAaHgx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_cDDSrckKQKSn9D90Ab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vwqJMit0yczcWmYHhMx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.OWCi9Ckq0k_nF934X0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rk1K6mBUezJSGQoeNv0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edwUGp4U6HiGDp1N6Dz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uOMZRINEaaLDb4R4J4k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8DpneIzUi2uas3xrej.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Tc4Y_Q0Uq8F_QaYIFex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MQ7ljmsUCnugenriNqq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xqxVpo06lK9XshZFSX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JW1tCh20KSLEvPYGlPI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lASTGdjUijyU2vJWS8Y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vw7daw1EO8yoW_6l8Le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YhXQte3EuCHtBwad5wH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rIEdp3B02Xno.bpoHCi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.ONOQZLUKF3Ci_6XpdN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LBmnFOrECk7LzYMxVFT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qjyMYNFkikLI0V.moU.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cNZbY0.UCDxF5yKbQQS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RIBsjgBUmhO_FR.1iGp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r.2L.CpE6idZHchUURi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9PM890nkqyoF8F7PtqK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zKRr9EeUWGg6d_eVISO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mr4Q9lGUqWDNwlm6AJG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YSyaCpp0Si6lCGgH8gu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LbzsDME0a_xxfFct6HS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41nqgEnXkijHfjahfiBl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i3G..uzkuBXAJi9URaJ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iADAAxLECpMK.HAH3Kv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6.R8s7SkOH6.GFvTbGQ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foazJcR0mjgmfSiik5S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yzLhH2UKnKnKvbYe3l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Gn2ZrtaUCh8.hiCyt8_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YR4xLc.kOv8Nc76OB4s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GdkLuzlEK0kXTaghkMv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XIIjM.p0SpMi8TBv6vG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_LTK6oIUygHAcD.1eMm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iwj0iRtECn.23CwOj9H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SFV9fF9UKRT8THwz7jU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w_RM_86U20kziGgpZLZ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jS5AogQ0KGgeXI3Q0yc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nSIi.Yd0u9Kyp.pBXc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bcXO3Ve0WToGCMOnkLc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6xnWWyO0qHzOu7N8TNk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.urALIUiMevpx_NVC1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CZmYl4N0OP8lpVl65UH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yFE4QkE2hdqTy.7lbH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1t8GyWhkOVtk8RDUrLo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cpLCN2T0i40FLiFaTPD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ko70AHuEiBNtB5sXzNw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aH5xrt4ESlRcoGXINXS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OBMimHXkCXIQMIN0V_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YnpbhxKkqnQsSsAaHgx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5D5BwbX3USL5U7Y4ihCP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dFYwEaTkKWo0j2Tin75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kNfs.xUEeU3l07yP01b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lf2uRhn0CWchCdndzpB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DcxL02mkyeVTf_JoWP0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dNhzh6SUyuTN8QCt1nn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izRhkLD0yHmc7NpL0WL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Nq5KfQGU.XzuvHVrAPK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9FMzStNEC3jZyXuhJYs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_PMrxzB7U6k45pQJeZt0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JW1tCh20KSLEvPYGlPI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qJb6IbV0esqbrLauLUW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VNFPhoQEa3cmO_3.omS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SRHx4pA0KS8_Psu9_oC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B_nkrzSkSrutTY6VPoc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d4pjkEPkKPv2wS6beBo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M8tYRZkUCifFW1UcHB0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AnmfACfkWfjVn1i.pCa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1QLpq81EOKtuHMXKs72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3Dhz_FGk6AHZedY6Ov9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pbFPhtakmu759Hz0bv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r.2L.CpE6idZHchUURi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.Erwub6UiPc73LezaUG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Y8h6ao3EW4jdI2RBXRB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rZTix.gku5nSl6q_ntM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Hycl4kGkKdAT_g4VSJn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LWXusMpkyMqdiP.E5Ko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mxSwtcj0yaoJSKrrkkE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BE53qVU2Q50zUjRmQl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rVpGpA9UuaqySwoCneu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Qip7wsFE.JTlOcMeUDQ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5zt05IDUCTS9Qbd.zGl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yzLhH2UKnKnKvbYe3l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5RRkdGWEmtAWSa9h44J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io32jCgkCNKotL8QWkg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yqY98rJkiepqQkzTjPu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9WplPKvUayLi6Te_nCx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10vi0ZSku_G0u37OLz5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yMJJHWgkmsA5WIT6K2t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nErEEnGEul_tAZHZx6m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GcrDftn0W923mdsqDJp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tHv1QBAk.Hnyag7obLr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eCmBEw6UK0TDFPMk867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Mq0P4m6km1_ZGWkuNsx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VOw4VDuU.VDwhkDcy8y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P74hJCakiWvktvHRybA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LyajnagEyVbP9MYtMtL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dYppIEQUW9FZak56Zvb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w0nQuhKkGiwteREE.r7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QW5YIEa0WgC9t66m41b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XWvOnAlEipZGzxU3EVo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O1GMReeUi9TjSaeILqw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m_aPVkV0yFHKYPmltg4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.UoRnC20KDwOmxi7zth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TIzin9v0u3DIG7UlCoE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DPOffpuUqW9zpTN29MV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MRDmEItUa3pJ4lo36oN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Cn8MABkS7eXIwyXT6q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E4ED4uw0yudhFf_5l1k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euvKFV0kWBYlYGMzg1E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nB32o7UEWwv0WEnb749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7dyyckxESOa47Cr9DD_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hYxMugq02zYYNoh6JNq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WxEIuXqE.pPzdMQ8_Re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5ePqbNFUWADF.k0dGn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d197mGwkSUKnfUE0cjT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yEaBJ18kux1fFQhRpJb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S853MzFUexX..ZJNL0M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n1eDW6sUysIiYqQ9_xP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.VwhVi0UKSIagWViJJ1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N31i.DakmzQ3IoOo1bu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v6QkJ2OkuJpjUp3Ct7g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5wg.vRbUGuZzFncDq.w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J4WRAH2EqbFiaS8EJOs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aPoKaEt0G.ayTUXHSor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.i2FoLy0.lLb8jKV.s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.UoRnC20KDwOmxi7zth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bZs9TgXEGLFaPoK2Jho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qynEi7jECGLW4OXpaqw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ReRrVivUKfBYGr8sZVq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DbIA12rEe3tjFtNuzXR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4DON9YBE.p3dqorri78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CI96QDG0.CMhayWU1.g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.VWTCzNk.INpOpA7BAU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GcFXSl3ka1BEhBnK_Dp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1wipVWj06lIN0OHxai7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PAxFV4vU28UIq3HKPPs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VmqAMUV0qHHyrYbIUmC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C7BNFGaU2v5flVw.UGg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4ehDvdk0.JIN5HhpVnR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.GvyvOcU2pyb4Ybu7De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wXYH6F2U6Y5GvxK9nRO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vUEOwFYkS4k_tsrKkct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m2ORIHZUWq50G.IMFNh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AkhSmXh0SeJWrNw4WlQ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pvMekRV06MG9fp8l6BP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ZhFSKgFE6JrQmW_En4Z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5_7gEzCkmY9LkxGXdv4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FG4GEPSkSRPi4QCejsS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xkg38mEEucBVJbkxMQx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OwsRT2fUWs1mV7pyWs0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DmH6qEs0yYgNkTNpK3d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KKBbiNmEmSjXXaah5Qm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bLYIm5zEG98WBuGwxH9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K.KbvEemKPC9Ix0_k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N94O6WQEi6OyKCy_uCf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XMHlLMn0ygzQ1Xa24iY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mlb_k3p0KiUQyV2WuJm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sZzWLunk2B.tqfD2Kqc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bTe29H90uvFAkChHwZ.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Vb50w8FEeawnSI87g5W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usI9nY2U.rndDofQbOT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jZIiMBpEywY1fmkJGzt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bjov1h.0upFMOODKKVJ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xXD4xuxEyjtptdVaBeK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2TH5ai302B9BKrEpcVg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SQPiTTXEiZDQp6dMJMM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agvSrKLUa5VCyBGumiS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ZSbha1xk.Bd.ijOqnCU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C.cFSk30iR03quZKV2B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fLAIB.TU.FIKRE4AeWH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4Kl.bFUEOt79K.kAz57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q_K0RJ.Ey.aLm5cWvi7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RKdbJaiE2FSHQGGXigL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bDi2NYT0S2EWSZFZVrD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dHXBgLh0e87jHotTwmE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kmG5ldVE._QODOi3XfI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A1lfTjaUKn6RfjNVcft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7wLlPfEEK2nxiSh9E7u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cYkudDEyLQvf0.6DFC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NqT6DT60yFouGMblh1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40a2_jkEysWP5hfeYM7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kIQWUgO0O6acnihaoJx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QG3Zgxd0GsOAcXyZUjj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Iw1LDtBEqF1po0YNTe.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zqMvxaxESRLyyMhUlvN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DD_CmCUeZLghARr1n9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TjzgtSzE2GRD.egtx5D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LU8gvJrUiAXqxq5X1ll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q2b0zV006ez..uaX8ek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wAu7Agp0.d7L_FRJ4mu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V69ARxhE6OAaT4sVfDs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k2msqFTEqkqec4KsO7X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aj91syi02.OYne9mcV5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gmwQKWt0u6dLXESOtCq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avxIYPEE.0eOoFvRQeT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0ZmiP6o0KiR5_UXqRKu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aUCdCkk2baadRrM_CD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Rki5.aQUmwHdDeqdlTJ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CKopfcy0WMxNO0jejuc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YNDOg8PUCMWZaiy.5UN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Lckb2ItEGeLksDgLX9a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Vrvwu9E02vrd3pLUTx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7.AU47tU.w8_JftzzWUg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Fjz1qLDk.7xbHGJRIgn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D2ptxdfUaNnDTrjFseZ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OnViOPvkSHDD3YgoZKXw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pVp5Tfskm8.44MNTkPm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F61GkPsEKfWp2p8nH5s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4aUqNfhUuqdGLHH.PG5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ixWPSmkEa4wcUsSHJ5i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CLMIHA9U.z8cubpWVgn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39PGPd.Uy5Twq44XNjj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hCV68RECdYuLkJ5Bz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VmqAMUV0qHHyrYbIUmC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GcvZFbv0u_lwDEeimxo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kcgI3Ec06xSjcGJgPVv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rk_4Y.lkigM_7HcC7z9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0hgl3B.ka6S2EYDtH10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E0agexh0OqdVN5DihiY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QZw0ZVtkWUh.2eDiJUX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VuPIrUcUyGK6Mc6qW6j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s53Xfz2EGTTbmcGFCNg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SRD3fglUyHhk.BbuGf3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bWKpxLM0Cgnaz28QM7f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Vo6RK1kUafvNq6tWpM8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EpSvEq7kSre323Ff1pyw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amdJzSlk28rK5pRKAxA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qWRikjNUiQc1S1u4W_M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JRq0g60kuBDLWlJC8nO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KjVkKr2EGsz2oJYvdm9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kgKKK9Dk6loKQ2f6Cy.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piwl0pC0OaWdUhUgYAA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qosVNTKE6YSN6ytxui0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_i.N4wF0anQiTF8oTgi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jxqFUhkECNSq8DGhIj_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xTS_Pj3EebUbhFSc4Ad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7E8QjQeUi0CH6byL1qr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QlkmxO0KhCvpldnoA_w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2wMNv2ckKVtXyx1cB8L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Xfc8f5wkaA6rJ5fG9HJ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vzj2YSJ0aZPVcrsbmCX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ukrzl_nkieGEfAVq5FO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OXi2KaeUCgOCrYPZ68v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ATcoINa0GPnZ9XWfqC4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Si4bGOtkSlW21WC5trK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49Gso8pEC5NOp3eBzUq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c9tOX0c0uuZUGVykGyp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Z9FRnJFkmu6kBa8McaT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8Q2s8ycUi5Vupxoj3bP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I2UhIROUeG.eNFs30Zc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OqmonDEe3IIm.gL0u3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YuhWNYH0KrV3UVcVbMX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TEvPqDK0CMGMM2gZYpq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a5zM.XIEeRL5PH9ee7z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UKwNuFBUGnZ_oAIjj84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WSesPtu0mHDLpYq0hkr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8T0NNM5UicRyP6rpd1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zYXavB0SlyS9CyyR6c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FAXEoerkqvOUW_93u7o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HHVFjvZ0KEHvmq.BWsz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HDOL48EUmV4EL3Bgp.i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TNl5Jrp0Gf8AAkOM835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6Crr6WY0OTSLw2q0Ufi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gZ38dweEipgMpuLW8_F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x69ZEBqEuZIGfwabTd2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H_AuoNBEGXeXo.53talw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RPyMd0eEG.YrjJb5tx.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cFV3TaMEeehit3yLNJN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XnrCLYwUup_QwFqpkGm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W3NODYoUSKlkDZEo2zu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qT03SksUuFP.HYgoJAE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H_V0gVbEiaom3AG0Jjq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dAc2nS_kqFfLAVNhndA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XOI5j81k.0qHYwz_AO6g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YzT9RmCECkprMvTuxp2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SbFMlZRUKXsBi1GnYmm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xHHYz44U.UqPWAikldw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lWbJiKJUqOrXMC8DdqC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z4Bvpsc02MP4g0IlBP2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dwLE0ckECyCInjqj615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GMkzb7LkShdHjKxgVdn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ojExZc.kqWZK08ZQ2O_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TKiLk.YU.SlWemTkUH9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NfNKc.gkyoh.DrYi.Hc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RoOC3vkkCLYWiwOX95d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0ZjsVUa0.VjR.ze_GTI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7kYuPyqUyk3d54nJRm1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HCnPoNf0i1klRcB7LWE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7tJxsEw0OpB3JOyiq91g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LhNcoIxE6mwIrKtl0Cz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q49Arq5EyqhIx3ixYlf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VBH6s20UOuFa_rNGvTj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GTKG6vPEmbUJoPWjB4m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w1MRMYwESQeGswxVliW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kqXWSxfk2mMLQzOtCpw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0hTnG2z0.n5oqP.qHDA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dlEzjJHUKOUNvubGVLe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0hTnG2z0.n5oqP.qHDA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1gyTUU2UqYZVcDKFphJ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0hTnG2z0.n5oqP.qHDA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cp_zzdLE.VwhSkbvc0o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1gyTUU2UqYZVcDKFphJg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0hTnG2z0.n5oqP.qHDA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1gyTUU2UqYZVcDKFphJ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0hTnG2z0.n5oqP.qHDA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1gyTUU2UqYZVcDKFphJ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BddLG.KkOtVRC9.R9UZ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GvZhnnb0earQhItbwC5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gCdaKqb0iru6LwH7iwt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BddLG.KkOtVRC9.R9UZ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GvZhnnb0earQhItbwC5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fEjH_xUGXVPEW1aAfD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3gEhTgPkGQ87W4r_QXF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.FCDPDkqPT5WuKAS.z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gCdaKqb0iru6LwH7iwtw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.o1mvH8k6J2V5aOdf5K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9vVcofSEiTF4tZmj_bW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uzSQGoAU2vSCtvfrvj3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gBxjWYkeiotbjnJMDz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5qJixehU6jfoD5ZdfsU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zDNNWYSk.EJNcsM.ykK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1gyTUU2UqYZVcDKFph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FG4GEPSkSRPi4QCejs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e2wuZD4kKH_K7rR4GVh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8DpneIzUi2uas3xrej.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Tc4Y_Q0Uq8F_QaYIFex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xqxVpo06lK9XshZFSX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lASTGdjUijyU2vJWS8Y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9GGBedhk2jD7rl7Olwb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9GGBedhk2jD7rl7Olwb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9GGBedhk2jD7rl7Olwb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tj8w6aH0Gcq2csUpO6X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VJi8JjUmibwc6ddYplg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VJi8JjUmibwc6ddYpl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VJi8JjUmibwc6ddYpl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tj8w6aH0Gcq2csUpO6X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6Q3APmEkm9CTsemFs0E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9GGBedhk2jD7rl7Olwb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VJi8JjUmibwc6ddYpl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VJi8JjUmibwc6ddYpl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tj8w6aH0Gcq2csUpO6XQ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VJi8JjUmibwc6ddYpl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9GGBedhk2jD7rl7Olwb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VJi8JjUmibwc6ddYpl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mWyDMuskejFV3XVKgK7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9GGBedhk2jD7rl7Olwb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VJi8JjUmibwc6ddYplg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VJi8JjUmibwc6ddYpl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FXkGdou0qlVagMtSUjx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VJi8JjUmibwc6ddYpl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tsDr5ejEGV6459xj11vg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189P4Lm0WKxq.lb28IrA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VJi8JjUmibwc6ddYpl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fn3bsvkyHUCX.Lsfbx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xBK7B96EWR98Hz_SZfu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UCx8vUhkqIRKQ.eFuO8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KnmFo8kqFV1ej4ncjg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vizgBMJ0e3Lj09XpOd5g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jNDh9QAkGQlaH7A7fMK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ag6asZFUG7QruDhQSPSw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v9sgU4IU2L0d_eezaLu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rbQa_OrUywwfA0N5qvNg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0pnpQaA0WXrNnCGpaa_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LsstzWu0SU.dRKDt0ER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3Ix05ZvUiplhjLSRHB1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p77YkRCkGehX83oQVB1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ASXNamCEa4YpFJZeWrv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JgQ0bAz0ySIyLKRjo73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r_H8z.u0C1YuRZ63hQbA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g2GgIzgUSUbQ0wW46m6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jNDh9QAkGQlaH7A7fMKQ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ag6asZFUG7QruDhQSPS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v9sgU4IU2L0d_eezaLuw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rbQa_OrUywwfA0N5qvN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0pnpQaA0WXrNnCGpaa_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LsstzWu0SU.dRKDt0ERw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3Ix05ZvUiplhjLSRHB1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Aa6fRZekKkxLX1gaPj2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p77YkRCkGehX83oQVB1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JgQ0bAz0ySIyLKRjo73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r_H8z.u0C1YuRZ63hQb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g2GgIzgUSUbQ0wW46m6Q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Qhzw8Vo0KViHufnz.CY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roJozgUuXEHy7tE7Dx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1ewD9wQEiV7GXHzsPnS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KO0MFREEKq3_rr9OK2Dw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bDEo6sf0iUqBZH6.Rk5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jVLS730EOPuArXzDLlE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G3pP04W0i.F_rbkhtPm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0USRgD10y2y7WoUPNuA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dPTqJJJkat6PBzoR3lC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e8U_0vEqefZdQiORwA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WnzDW6LU.eVJfXKq7OYg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PmRayIaEWgLN.67ZZpa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K7BQ4rIUKr2NHXXw3r2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7kkL1ZeUKw5h0Ada3WY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YsHmjruk2.jUi2r76TP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1ewD9wQEiV7GXHzsPn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bTe29H90uvFAkChHwZ.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mh5Fjrt0Wl9KZPa5jKHA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KO0MFREEKq3_rr9OK2Dw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bDEo6sf0iUqBZH6.Rk5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G3pP04W0i.F_rbkhtPm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0USRgD10y2y7WoUPNuA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dPTqJJJkat6PBzoR3lC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e8U_0vEqefZdQiORwAQ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WnzDW6LU.eVJfXKq7OYg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PmRayIaEWgLN.67ZZpa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K7BQ4rIUKr2NHXXw3r2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7kkL1ZeUKw5h0Ada3WY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xMcr0.v0yEnkmtMR9YUA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YsHmjruk2.jUi2r76TPg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1ewD9wQEiV7GXHzsPnS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KO0MFREEKq3_rr9OK2D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bDEo6sf0iUqBZH6.Rk5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G3pP04W0i.F_rbkhtPm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0USRgD10y2y7WoUPNuA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dPTqJJJkat6PBzoR3lC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e8U_0vEqefZdQiORwAQ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WnzDW6LU.eVJfXKq7OY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PmRayIaEWgLN.67ZZpa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K7BQ4rIUKr2NHXXw3r2Q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7kkL1ZeUKw5h0Ada3WYg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YsHmjruk2.jUi2r76TP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1ewD9wQEiV7GXHzsPnS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KO0MFREEKq3_rr9OK2D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bDEo6sf0iUqBZH6.Rk5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G3pP04W0i.F_rbkhtPm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0USRgD10y2y7WoUPNuA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dPTqJJJkat6PBzoR3lC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e8U_0vEqefZdQiORwA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.EEhXptk.C7033W5mZyg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WnzDW6LU.eVJfXKq7OYg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PmRayIaEWgLN.67ZZpa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K7BQ4rIUKr2NHXXw3r2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7kkL1ZeUKw5h0Ada3WYg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YsHmjruk2.jUi2r76TPg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0USRgD10y2y7WoUPNuAQ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WnzDW6LU.eVJfXKq7OYg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YsHmjruk2.jUi2r76TP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Qhzw8Vo0KViHufnz.CY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RJnSmMjUi6FB1HctG_tQ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roJozgUuXEHy7tE7Dx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1w.khtlkaH_em3HPmBeQ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JPxO_yUKOJI1vmEXYeA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9gF0nV_USSK0_v1MJnS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pJbhbKzk6_MXu.3llRj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ZQbDgAbUiLC3psgEbQOA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s_pNf1nkOxhrfGNJ3I9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V1XV2RvkyjOloac2IOo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PYn1Tkz0KXKRgvzMtcyQ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l9VK8Qz0uG0eRhYQOYU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dZuFjkz0q2vP4Dbra2sA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UU6124BEOrHqPQJFKKjw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FywpGhhUyBIQMvDe_F8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SeIYVwdE6hW8L5Rmm6M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GHLUL5M0Cd2XoVP.bxnQ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ETQzwQgk6ZAglh_Iw_WQ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YKTqH7NEaGvBZe1_BxI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HdUm3L9UmyuuEtOyGIKQ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pTsFp5bE.hbNTKmIWQV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9pVj3z5EWqYcZdVoqI0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p8nHhRi0q1VtomqVVs8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S9IeFaA0iSppfOIUzx3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lc2YPsW0q3hzuj6T0dgA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Ssrh5MYUCeraJgly2.V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Bb0tNsokK.wdFCcJh.F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ryeZhqgEqL4xBcz4n1O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jyw.Q.F06Q4CxlY26zww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OIHFfKnk2HHv1ihTJ0_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ophutuUkidxPGDBse0xA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LtqIlL8EaZ2iHkrIWReA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EDQ5X8FEmD1XVqwNw2W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g9G_9EuUKjzRwvk8OKSw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DY57329keP75F7tF5qlA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A.VAV2oECGARMy_I4qT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PE7I1Ggki0jljNymULt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7QtSDCAkm4oHbHLrJSR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chop7avkax0JJ1w0rcD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KYB0tmykmEjE.rUk_DwA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RE33whiEGYctH3Bs.WGQ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uiLqA5C0G6oskPIFss6Q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vjgg0WAEKlC6AGoP8Wrg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gSulNeXkuvHL9H2iHmZ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onO7VaG0iii.5SlNYoVg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6N8GwlhkSfjgCuLuEiWQ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kB__GR7kOPFAaxBdWMsg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lsG6YoGkee6rL8iUbTT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WKITb5LkK47bKsiUSQa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OtXjMtX0C6Vengdw0vU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TjNwv3vEmLCE1jf_r1u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C6c.EMSkWmwUp74Z1ZXQ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WU6FfMo0SzQ5oz1_dhl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bZjmjQSEmzTBIN2O_7vg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4Lu4YS3EGZfcZu.pvD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B_StFHJ069FErI5glXjg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z3mSV9JEm8jfInrGbpwg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JLANAaqU2Dd5hYhRuNbw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GXMXdOT02r5XHuRn0_Zg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gBUzodpUSfGJv8a_dyHQ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ZTIJCdqUi2UeoJBXO0d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0lDTKOLEafIdPRWIYTA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f17rh1j0uNRvqb1eDJAw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G5JP.N4E.ii9_i.gnMvA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mnpO8kOUyxMtqeHZUM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fLAIB.TU.FIKRE4AeWH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Yn3yHQtkWhDi9UArlij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6MbSQJCUurWKUms8.Adw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DhIso_d0WqJkunTw03cA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IPVWzEj06TLPDtc1Soc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1iIAfiGUaS9welilJHT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1lx6C0g02z_T2HWVy_.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v5N0hTFUCr_KtWQ.DPCA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ian8zbmka1gZmLVSHnn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_ogQHYN0KdwFh28H4BD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uvYrQPf0GEw7ihVDXI2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e5g7KW5Ei11.qFmWOgog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3vewBFFka47VsW6gcq8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BzJpaveUuqkkqrqYKdNA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t.IdW5US8GCWRoxRaqg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xZB3ixiEGitqZdpWmkA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B8YrBNwE.73V7QncSKhg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aKGXpJFEGsrDGpUAyg9w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Sb3UIWH0qGvWq9prORy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bM4c.vhkq5e3NOFLMGM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_cDDSrckKQKSn9D90Ab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vFKhvr30qCqfOj8Uvyd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YofVQFqk2OJxWAdPIkxQ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JqfY9P0UOW5LhQf6oVbA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JNHPFGcE2JTdxukOYLfg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cgog1hYEuqK6aaBJzzsQ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w7XqK3LUuF_BTZZewjMQ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K_WCnyUUmu7zhncLrfug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JtoykOXEirXx_aqA0Jbw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q_O1B7.kKIKJVF3dmFrQ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62RKg5Ck.AOCFEj843ow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VQweth3EmAOqjKwHP.9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K_WCnyUUmu7zhncLrfug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JtoykOXEirXx_aqA0Jbw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XvKhqoKk29tFq9hpHeXQ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dEL98t_0WHEWU.kY8Xr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9QK7UkkK.N4UH642ACA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H96ul4bUChIukMZxaYlg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oXEqwM0a_6MyDWh6uh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ENaz2B8ECbzTLIpppXt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TIzin9v0u3DIG7UlCoE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d197mGwkSUKnfUE0cjT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.UoRnC20KDwOmxi7zth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VmqAMUV0qHHyrYbIUmC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FG4GEPSkSRPi4QCejsSg"/>
</p:tagLst>
</file>

<file path=ppt/theme/theme1.xml><?xml version="1.0" encoding="utf-8"?>
<a:theme xmlns:a="http://schemas.openxmlformats.org/drawingml/2006/main" name="AgC template 1.0">
  <a:themeElements>
    <a:clrScheme name="Avantgarde 1">
      <a:dk1>
        <a:sysClr val="windowText" lastClr="000000"/>
      </a:dk1>
      <a:lt1>
        <a:sysClr val="window" lastClr="FFFFFF"/>
      </a:lt1>
      <a:dk2>
        <a:srgbClr val="FFFFFF"/>
      </a:dk2>
      <a:lt2>
        <a:srgbClr val="FFFFFF"/>
      </a:lt2>
      <a:accent1>
        <a:srgbClr val="002060"/>
      </a:accent1>
      <a:accent2>
        <a:srgbClr val="0041C4"/>
      </a:accent2>
      <a:accent3>
        <a:srgbClr val="9799E5"/>
      </a:accent3>
      <a:accent4>
        <a:srgbClr val="C0D5FF"/>
      </a:accent4>
      <a:accent5>
        <a:srgbClr val="CCC1D9"/>
      </a:accent5>
      <a:accent6>
        <a:srgbClr val="000000"/>
      </a:accent6>
      <a:hlink>
        <a:srgbClr val="0070C0"/>
      </a:hlink>
      <a:folHlink>
        <a:srgbClr val="006CBC"/>
      </a:folHlink>
    </a:clrScheme>
    <a:fontScheme name="AgC Fo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wrap="square" rtlCol="0" anchor="ctr"/>
      <a:lstStyle>
        <a:defPPr algn="ctr">
          <a:defRPr sz="1600" b="0" dirty="0" smtClean="0">
            <a:latin typeface="Cordia New" pitchFamily="34" charset="-34"/>
            <a:cs typeface="Cordia New" pitchFamily="34" charset="-34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ngsana New" pitchFamily="18" charset="-34"/>
          </a:defRPr>
        </a:defPPr>
      </a:lstStyle>
    </a:lnDef>
    <a:txDef>
      <a:spPr>
        <a:noFill/>
      </a:spPr>
      <a:bodyPr wrap="square" rtlCol="0">
        <a:noAutofit/>
      </a:bodyPr>
      <a:lstStyle>
        <a:defPPr>
          <a:defRPr sz="1400" b="0" dirty="0" smtClean="0">
            <a:latin typeface="Cordia New" pitchFamily="34" charset="-34"/>
            <a:cs typeface="Cordia New" pitchFamily="34" charset="-34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AgC template 1.0">
  <a:themeElements>
    <a:clrScheme name="Avantgarde 1">
      <a:dk1>
        <a:sysClr val="windowText" lastClr="000000"/>
      </a:dk1>
      <a:lt1>
        <a:sysClr val="window" lastClr="FFFFFF"/>
      </a:lt1>
      <a:dk2>
        <a:srgbClr val="FFFFFF"/>
      </a:dk2>
      <a:lt2>
        <a:srgbClr val="FFFFFF"/>
      </a:lt2>
      <a:accent1>
        <a:srgbClr val="002060"/>
      </a:accent1>
      <a:accent2>
        <a:srgbClr val="0041C4"/>
      </a:accent2>
      <a:accent3>
        <a:srgbClr val="9799E5"/>
      </a:accent3>
      <a:accent4>
        <a:srgbClr val="C0D5FF"/>
      </a:accent4>
      <a:accent5>
        <a:srgbClr val="CCC1D9"/>
      </a:accent5>
      <a:accent6>
        <a:srgbClr val="000000"/>
      </a:accent6>
      <a:hlink>
        <a:srgbClr val="0070C0"/>
      </a:hlink>
      <a:folHlink>
        <a:srgbClr val="006CBC"/>
      </a:folHlink>
    </a:clrScheme>
    <a:fontScheme name="AgC Fo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wrap="square" rtlCol="0" anchor="ctr"/>
      <a:lstStyle>
        <a:defPPr algn="ctr">
          <a:defRPr sz="1600" b="0" dirty="0" smtClean="0">
            <a:latin typeface="Cordia New" pitchFamily="34" charset="-34"/>
            <a:cs typeface="Cordia New" pitchFamily="34" charset="-34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ngsana New" pitchFamily="18" charset="-34"/>
          </a:defRPr>
        </a:defPPr>
      </a:lstStyle>
    </a:lnDef>
    <a:txDef>
      <a:spPr>
        <a:noFill/>
      </a:spPr>
      <a:bodyPr wrap="square" rtlCol="0">
        <a:noAutofit/>
      </a:bodyPr>
      <a:lstStyle>
        <a:defPPr>
          <a:defRPr sz="1400" b="0" dirty="0" smtClean="0">
            <a:latin typeface="Cordia New" pitchFamily="34" charset="-34"/>
            <a:cs typeface="Cordia New" pitchFamily="34" charset="-34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AgC template 1.0">
  <a:themeElements>
    <a:clrScheme name="Avantgarde 1">
      <a:dk1>
        <a:sysClr val="windowText" lastClr="000000"/>
      </a:dk1>
      <a:lt1>
        <a:sysClr val="window" lastClr="FFFFFF"/>
      </a:lt1>
      <a:dk2>
        <a:srgbClr val="FFFFFF"/>
      </a:dk2>
      <a:lt2>
        <a:srgbClr val="FFFFFF"/>
      </a:lt2>
      <a:accent1>
        <a:srgbClr val="002060"/>
      </a:accent1>
      <a:accent2>
        <a:srgbClr val="0041C4"/>
      </a:accent2>
      <a:accent3>
        <a:srgbClr val="9799E5"/>
      </a:accent3>
      <a:accent4>
        <a:srgbClr val="C0D5FF"/>
      </a:accent4>
      <a:accent5>
        <a:srgbClr val="CCC1D9"/>
      </a:accent5>
      <a:accent6>
        <a:srgbClr val="000000"/>
      </a:accent6>
      <a:hlink>
        <a:srgbClr val="0070C0"/>
      </a:hlink>
      <a:folHlink>
        <a:srgbClr val="006CBC"/>
      </a:folHlink>
    </a:clrScheme>
    <a:fontScheme name="AgC Fo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wrap="square" rtlCol="0" anchor="ctr"/>
      <a:lstStyle>
        <a:defPPr algn="ctr">
          <a:defRPr sz="1600" b="0" dirty="0" smtClean="0">
            <a:latin typeface="Cordia New" pitchFamily="34" charset="-34"/>
            <a:cs typeface="Cordia New" pitchFamily="34" charset="-34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ngsana New" pitchFamily="18" charset="-34"/>
          </a:defRPr>
        </a:defPPr>
      </a:lstStyle>
    </a:lnDef>
    <a:txDef>
      <a:spPr>
        <a:noFill/>
      </a:spPr>
      <a:bodyPr wrap="square" rtlCol="0">
        <a:noAutofit/>
      </a:bodyPr>
      <a:lstStyle>
        <a:defPPr>
          <a:defRPr sz="1400" b="0" dirty="0" smtClean="0">
            <a:latin typeface="Cordia New" pitchFamily="34" charset="-34"/>
            <a:cs typeface="Cordia New" pitchFamily="34" charset="-34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AgC template 1.0">
  <a:themeElements>
    <a:clrScheme name="Avantgarde 1">
      <a:dk1>
        <a:sysClr val="windowText" lastClr="000000"/>
      </a:dk1>
      <a:lt1>
        <a:sysClr val="window" lastClr="FFFFFF"/>
      </a:lt1>
      <a:dk2>
        <a:srgbClr val="FFFFFF"/>
      </a:dk2>
      <a:lt2>
        <a:srgbClr val="FFFFFF"/>
      </a:lt2>
      <a:accent1>
        <a:srgbClr val="002060"/>
      </a:accent1>
      <a:accent2>
        <a:srgbClr val="0041C4"/>
      </a:accent2>
      <a:accent3>
        <a:srgbClr val="9799E5"/>
      </a:accent3>
      <a:accent4>
        <a:srgbClr val="C0D5FF"/>
      </a:accent4>
      <a:accent5>
        <a:srgbClr val="CCC1D9"/>
      </a:accent5>
      <a:accent6>
        <a:srgbClr val="000000"/>
      </a:accent6>
      <a:hlink>
        <a:srgbClr val="0070C0"/>
      </a:hlink>
      <a:folHlink>
        <a:srgbClr val="006CBC"/>
      </a:folHlink>
    </a:clrScheme>
    <a:fontScheme name="AgC Fo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wrap="square" rtlCol="0" anchor="ctr"/>
      <a:lstStyle>
        <a:defPPr algn="ctr">
          <a:defRPr sz="1600" b="0" dirty="0" smtClean="0">
            <a:latin typeface="Cordia New" pitchFamily="34" charset="-34"/>
            <a:cs typeface="Cordia New" pitchFamily="34" charset="-34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ngsana New" pitchFamily="18" charset="-34"/>
          </a:defRPr>
        </a:defPPr>
      </a:lstStyle>
    </a:lnDef>
    <a:txDef>
      <a:spPr>
        <a:noFill/>
      </a:spPr>
      <a:bodyPr wrap="square" rtlCol="0">
        <a:noAutofit/>
      </a:bodyPr>
      <a:lstStyle>
        <a:defPPr>
          <a:defRPr sz="1400" b="0" dirty="0" smtClean="0">
            <a:latin typeface="Cordia New" pitchFamily="34" charset="-34"/>
            <a:cs typeface="Cordia New" pitchFamily="34" charset="-34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64</TotalTime>
  <Words>2739</Words>
  <Application>Microsoft Office PowerPoint</Application>
  <PresentationFormat>On-screen Show (4:3)</PresentationFormat>
  <Paragraphs>812</Paragraphs>
  <Slides>2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0" baseType="lpstr">
      <vt:lpstr>Arial</vt:lpstr>
      <vt:lpstr>Browallia New</vt:lpstr>
      <vt:lpstr>Calibri</vt:lpstr>
      <vt:lpstr>Century Gothic</vt:lpstr>
      <vt:lpstr>Cordia New</vt:lpstr>
      <vt:lpstr>Tahoma</vt:lpstr>
      <vt:lpstr>TH Sarabun PSK</vt:lpstr>
      <vt:lpstr>TH SarabunPSK</vt:lpstr>
      <vt:lpstr>Wingdings</vt:lpstr>
      <vt:lpstr>Wingdings 3</vt:lpstr>
      <vt:lpstr>AgC template 1.0</vt:lpstr>
      <vt:lpstr>1_AgC template 1.0</vt:lpstr>
      <vt:lpstr>2_AgC template 1.0</vt:lpstr>
      <vt:lpstr>3_AgC template 1.0</vt:lpstr>
      <vt:lpstr>think-cell Slide</vt:lpstr>
      <vt:lpstr>PowerPoint Presentation</vt:lpstr>
      <vt:lpstr>วัตถุประสงค์ของระบบตั๋วร่วม</vt:lpstr>
      <vt:lpstr>ภาพรวมการใช้ตั๋วร่วม</vt:lpstr>
      <vt:lpstr>ภาพรวมการเชื่อมต่อระบบและการใช้งานตั๋วร่วม</vt:lpstr>
      <vt:lpstr>แนวคิดในการพัฒนาระบบตั๋วร่วม</vt:lpstr>
      <vt:lpstr>นโยบาย Single Standard, Multiple Issuers</vt:lpstr>
      <vt:lpstr>แผนและระยะเวลาในการดำเนินงานระบบตั๋วร่วม</vt:lpstr>
      <vt:lpstr>นโยบายอัตราค่าโดยสารในแต่ละช่วงเวลา</vt:lpstr>
      <vt:lpstr>โครงสร้างอัตราค่าโดยสาร (ตัวอย่างในเบื้องต้น)</vt:lpstr>
      <vt:lpstr>โครงสร้างอัตราค่าโดยสารในระยะยาว (ตัวอย่างในเบื้องต้น)</vt:lpstr>
      <vt:lpstr>แนวทางการเพิ่มมูลค่าเงินในบัตรโดยสาร (Card Top-up)</vt:lpstr>
      <vt:lpstr>ปัจจัยสำคัญในการพัฒนาระบบตั๋วร่วม (Key Success Factors)</vt:lpstr>
      <vt:lpstr>ภาพรวมของระบบ</vt:lpstr>
      <vt:lpstr>แนวทางในการ เชื่อมต่อระบบตั๋วร่วม</vt:lpstr>
      <vt:lpstr>PowerPoint Presentation</vt:lpstr>
      <vt:lpstr>กระบวนการในการออกแบบระบบบัตรโดยสาร</vt:lpstr>
      <vt:lpstr>ประเภทของบัตรโดยสาร </vt:lpstr>
      <vt:lpstr>ประเภทของตั๋วร่วมและสิทธิ์ประโยชน์</vt:lpstr>
      <vt:lpstr>Card File Structure</vt:lpstr>
      <vt:lpstr>แนวทางการปรับปรุงระบบ Front-end – ระบบรถไฟฟ้า (F/E Modification - Rail)</vt:lpstr>
      <vt:lpstr>แนวทางการปรับปรุงระบบ Front-end – ระบบทางพิเศษ (F/E Modification - Toll)</vt:lpstr>
      <vt:lpstr>แนวทางในการดำเนินการพัฒนาระบบรถโดยสารสาธารณะ</vt:lpstr>
      <vt:lpstr>ลักษณะการดำเนินงาน และการพัฒนา CCH</vt:lpstr>
      <vt:lpstr>โครงสร้างการกำกับดูแลและบริหาร</vt:lpstr>
      <vt:lpstr>แนวทางการจัดตั้งผู้บริหารจัดการและบำรุงรักษาระบบ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dget</dc:title>
  <dc:creator>samsung</dc:creator>
  <cp:lastModifiedBy>Kerati K.</cp:lastModifiedBy>
  <cp:revision>429</cp:revision>
  <cp:lastPrinted>2013-03-19T15:48:16Z</cp:lastPrinted>
  <dcterms:created xsi:type="dcterms:W3CDTF">2013-02-15T08:29:02Z</dcterms:created>
  <dcterms:modified xsi:type="dcterms:W3CDTF">2015-04-01T23:35:29Z</dcterms:modified>
</cp:coreProperties>
</file>